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5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6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7.xml" ContentType="application/vnd.openxmlformats-officedocument.theme+xml"/>
  <Override PartName="/ppt/tags/tag92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8.xml" ContentType="application/vnd.openxmlformats-officedocument.theme+xml"/>
  <Override PartName="/ppt/tags/tag93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9.xml" ContentType="application/vnd.openxmlformats-officedocument.theme+xml"/>
  <Override PartName="/ppt/tags/tag94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0.xml" ContentType="application/vnd.openxmlformats-officedocument.theme+xml"/>
  <Override PartName="/ppt/tags/tag95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1.xml" ContentType="application/vnd.openxmlformats-officedocument.theme+xml"/>
  <Override PartName="/ppt/tags/tag96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2.xml" ContentType="application/vnd.openxmlformats-officedocument.theme+xml"/>
  <Override PartName="/ppt/tags/tag97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3.xml" ContentType="application/vnd.openxmlformats-officedocument.theme+xml"/>
  <Override PartName="/ppt/tags/tag98.xml" ContentType="application/vnd.openxmlformats-officedocument.presentationml.tags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4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15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16.xml" ContentType="application/vnd.openxmlformats-officedocument.them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7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18.xml" ContentType="application/vnd.openxmlformats-officedocument.them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19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theme/theme20.xml" ContentType="application/vnd.openxmlformats-officedocument.them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19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20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tags/tag221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22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23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72" r:id="rId6"/>
    <p:sldMasterId id="2147484483" r:id="rId7"/>
    <p:sldMasterId id="2147484509" r:id="rId8"/>
    <p:sldMasterId id="2147484535" r:id="rId9"/>
    <p:sldMasterId id="2147484563" r:id="rId10"/>
    <p:sldMasterId id="2147484589" r:id="rId11"/>
    <p:sldMasterId id="2147484615" r:id="rId12"/>
    <p:sldMasterId id="2147484624" r:id="rId13"/>
    <p:sldMasterId id="2147484633" r:id="rId14"/>
    <p:sldMasterId id="2147484642" r:id="rId15"/>
    <p:sldMasterId id="2147484651" r:id="rId16"/>
    <p:sldMasterId id="2147484660" r:id="rId17"/>
    <p:sldMasterId id="2147484669" r:id="rId18"/>
    <p:sldMasterId id="2147484678" r:id="rId19"/>
    <p:sldMasterId id="2147484704" r:id="rId20"/>
    <p:sldMasterId id="2147484725" r:id="rId21"/>
    <p:sldMasterId id="2147484751" r:id="rId22"/>
    <p:sldMasterId id="2147484777" r:id="rId23"/>
    <p:sldMasterId id="2147484805" r:id="rId24"/>
    <p:sldMasterId id="2147484833" r:id="rId25"/>
  </p:sldMasterIdLst>
  <p:notesMasterIdLst>
    <p:notesMasterId r:id="rId44"/>
  </p:notesMasterIdLst>
  <p:handoutMasterIdLst>
    <p:handoutMasterId r:id="rId45"/>
  </p:handoutMasterIdLst>
  <p:sldIdLst>
    <p:sldId id="917" r:id="rId26"/>
    <p:sldId id="922" r:id="rId27"/>
    <p:sldId id="933" r:id="rId28"/>
    <p:sldId id="923" r:id="rId29"/>
    <p:sldId id="928" r:id="rId30"/>
    <p:sldId id="935" r:id="rId31"/>
    <p:sldId id="924" r:id="rId32"/>
    <p:sldId id="929" r:id="rId33"/>
    <p:sldId id="925" r:id="rId34"/>
    <p:sldId id="930" r:id="rId35"/>
    <p:sldId id="936" r:id="rId36"/>
    <p:sldId id="926" r:id="rId37"/>
    <p:sldId id="931" r:id="rId38"/>
    <p:sldId id="934" r:id="rId39"/>
    <p:sldId id="927" r:id="rId40"/>
    <p:sldId id="932" r:id="rId41"/>
    <p:sldId id="921" r:id="rId42"/>
    <p:sldId id="937" r:id="rId43"/>
  </p:sldIdLst>
  <p:sldSz cx="9144000" cy="6858000" type="screen4x3"/>
  <p:notesSz cx="6819900" cy="9918700"/>
  <p:custDataLst>
    <p:tags r:id="rId4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F2F6E259-4E60-4E92-AF41-A6FA36CC1DE6}">
          <p14:sldIdLst>
            <p14:sldId id="917"/>
            <p14:sldId id="922"/>
            <p14:sldId id="933"/>
            <p14:sldId id="923"/>
            <p14:sldId id="928"/>
            <p14:sldId id="935"/>
            <p14:sldId id="924"/>
            <p14:sldId id="929"/>
            <p14:sldId id="925"/>
            <p14:sldId id="930"/>
            <p14:sldId id="936"/>
            <p14:sldId id="926"/>
            <p14:sldId id="931"/>
            <p14:sldId id="934"/>
            <p14:sldId id="927"/>
            <p14:sldId id="932"/>
            <p14:sldId id="921"/>
            <p14:sldId id="937"/>
          </p14:sldIdLst>
        </p14:section>
        <p14:section name="Deutsche Börse Group: general information" id="{34C3560C-3236-417D-81D6-14DFD3EC58E0}">
          <p14:sldIdLst/>
        </p14:section>
        <p14:section name="Vision" id="{5CA000B1-B963-4E24-8B7F-DCA927BCFBB1}">
          <p14:sldIdLst/>
        </p14:section>
        <p14:section name="An overview of Deutsche Börse Group" id="{9FE6ECC0-87AA-427F-B2E0-9F2A5B4C2421}">
          <p14:sldIdLst/>
        </p14:section>
        <p14:section name="Deutsche Börse Group: facts and figures" id="{63E413DD-76DF-4E0F-9D08-AF0AAF66FE5B}">
          <p14:sldIdLst/>
        </p14:section>
        <p14:section name="Pre-IPO and listing" id="{011B8539-CD7B-4D26-A999-B42CB79CE6BF}">
          <p14:sldIdLst/>
        </p14:section>
        <p14:section name="Trading" id="{B2CACF3E-BD66-4CA2-9483-BE734A2E78C5}">
          <p14:sldIdLst/>
        </p14:section>
        <p14:section name="Trading: cash market" id="{F5DA604C-5305-4A9B-90B1-E915F652A0C2}">
          <p14:sldIdLst/>
        </p14:section>
        <p14:section name="Trading: derivatives market" id="{83F19399-9FF5-4CAC-9AE0-27AE13201BA2}">
          <p14:sldIdLst/>
        </p14:section>
        <p14:section name="Trading: foreign exchange" id="{DDD84E45-6CF7-408B-9588-7243095D9E0C}">
          <p14:sldIdLst/>
        </p14:section>
        <p14:section name="Trading: energy/commodities" id="{57B0E164-F529-4431-A732-7C89C462D32F}">
          <p14:sldIdLst/>
        </p14:section>
        <p14:section name="Clearing" id="{18E710E4-9853-4C1A-AF68-74C39DE6B86C}">
          <p14:sldIdLst/>
        </p14:section>
        <p14:section name="Settlement and custody" id="{A9BEA91E-4FE1-4627-B2B5-34245413705F}">
          <p14:sldIdLst/>
        </p14:section>
        <p14:section name="Market data, indices and regulatory services" id="{D1A2CA59-6358-43D1-A62D-1AE83C2291F4}">
          <p14:sldIdLst/>
        </p14:section>
        <p14:section name="Technology" id="{6FD16432-BFE5-4D55-83BE-020C2576DEB8}">
          <p14:sldIdLst/>
        </p14:section>
        <p14:section name="Deutsche Börse Group companies: short portraits" id="{69A8BAB9-D945-4333-B073-C098BB504F24}">
          <p14:sldIdLst/>
        </p14:section>
        <p14:section name="Contact_Imprint" id="{77B62880-271C-4BB2-87D2-42BB68846C6A}">
          <p14:sldIdLst/>
        </p14:section>
        <p14:section name="Back-up" id="{E80C10E7-3C3C-4029-AB82-9A2392A7462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888" userDrawn="1">
          <p15:clr>
            <a:srgbClr val="A4A3A4"/>
          </p15:clr>
        </p15:guide>
        <p15:guide id="5" orient="horz" pos="3113" userDrawn="1">
          <p15:clr>
            <a:srgbClr val="A4A3A4"/>
          </p15:clr>
        </p15:guide>
        <p15:guide id="6" orient="horz" pos="1979" userDrawn="1">
          <p15:clr>
            <a:srgbClr val="A4A3A4"/>
          </p15:clr>
        </p15:guide>
        <p15:guide id="7" orient="horz" pos="1071">
          <p15:clr>
            <a:srgbClr val="A4A3A4"/>
          </p15:clr>
        </p15:guide>
        <p15:guide id="10" pos="204">
          <p15:clr>
            <a:srgbClr val="A4A3A4"/>
          </p15:clr>
        </p15:guide>
        <p15:guide id="12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4">
          <p15:clr>
            <a:srgbClr val="A4A3A4"/>
          </p15:clr>
        </p15:guide>
        <p15:guide id="2" pos="214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eubale" initials="AR" lastIdx="1" clrIdx="0"/>
  <p:cmAuthor id="7" name="Luening Carolin" initials="LC" lastIdx="2" clrIdx="7"/>
  <p:cmAuthor id="1" name="Kuestner Regina" initials="KR" lastIdx="1" clrIdx="1"/>
  <p:cmAuthor id="2" name="Freyer Silke" initials="FS" lastIdx="1" clrIdx="2"/>
  <p:cmAuthor id="3" name="Oliver Bayer" initials="OB" lastIdx="9" clrIdx="3"/>
  <p:cmAuthor id="4" name="Aden Claudia" initials="AC" lastIdx="9" clrIdx="4"/>
  <p:cmAuthor id="5" name="Burkard Luisa" initials="BL" lastIdx="4" clrIdx="5"/>
  <p:cmAuthor id="6" name="Engels Stefan" initials="ES" lastIdx="2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E100"/>
    <a:srgbClr val="000099"/>
    <a:srgbClr val="B4E1FF"/>
    <a:srgbClr val="666666"/>
    <a:srgbClr val="C0C0C0"/>
    <a:srgbClr val="CCCCCC"/>
    <a:srgbClr val="919191"/>
    <a:srgbClr val="999999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45" autoAdjust="0"/>
    <p:restoredTop sz="98962" autoAdjust="0"/>
  </p:normalViewPr>
  <p:slideViewPr>
    <p:cSldViewPr snapToObjects="1">
      <p:cViewPr varScale="1">
        <p:scale>
          <a:sx n="173" d="100"/>
          <a:sy n="173" d="100"/>
        </p:scale>
        <p:origin x="2022" y="132"/>
      </p:cViewPr>
      <p:guideLst>
        <p:guide orient="horz" pos="1888"/>
        <p:guide orient="horz" pos="3113"/>
        <p:guide orient="horz" pos="1979"/>
        <p:guide orient="horz" pos="1071"/>
        <p:guide pos="204"/>
        <p:guide pos="113"/>
      </p:guideLst>
    </p:cSldViewPr>
  </p:slideViewPr>
  <p:outlineViewPr>
    <p:cViewPr>
      <p:scale>
        <a:sx n="33" d="100"/>
        <a:sy n="33" d="100"/>
      </p:scale>
      <p:origin x="0" y="30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30"/>
    </p:cViewPr>
  </p:sorterViewPr>
  <p:notesViewPr>
    <p:cSldViewPr snapToObjects="1">
      <p:cViewPr varScale="1">
        <p:scale>
          <a:sx n="72" d="100"/>
          <a:sy n="72" d="100"/>
        </p:scale>
        <p:origin x="-3450" y="-114"/>
      </p:cViewPr>
      <p:guideLst>
        <p:guide orient="horz" pos="3124"/>
        <p:guide pos="214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8.xml"/><Relationship Id="rId18" Type="http://schemas.openxmlformats.org/officeDocument/2006/relationships/slideMaster" Target="slideMasters/slideMaster13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6.xml"/><Relationship Id="rId34" Type="http://schemas.openxmlformats.org/officeDocument/2006/relationships/slide" Target="slides/slide9.xml"/><Relationship Id="rId42" Type="http://schemas.openxmlformats.org/officeDocument/2006/relationships/slide" Target="slides/slide17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Master" Target="slideMasters/slideMaster12.xml"/><Relationship Id="rId25" Type="http://schemas.openxmlformats.org/officeDocument/2006/relationships/slideMaster" Target="slideMasters/slideMaster20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0" Type="http://schemas.openxmlformats.org/officeDocument/2006/relationships/slideMaster" Target="slideMasters/slideMaster15.xml"/><Relationship Id="rId29" Type="http://schemas.openxmlformats.org/officeDocument/2006/relationships/slide" Target="slides/slide4.xml"/><Relationship Id="rId41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Master" Target="slideMasters/slideMaster19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0.xml"/><Relationship Id="rId23" Type="http://schemas.openxmlformats.org/officeDocument/2006/relationships/slideMaster" Target="slideMasters/slideMaster18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49" Type="http://schemas.openxmlformats.org/officeDocument/2006/relationships/viewProps" Target="viewProps.xml"/><Relationship Id="rId10" Type="http://schemas.openxmlformats.org/officeDocument/2006/relationships/slideMaster" Target="slideMasters/slideMaster5.xml"/><Relationship Id="rId19" Type="http://schemas.openxmlformats.org/officeDocument/2006/relationships/slideMaster" Target="slideMasters/slideMaster14.xml"/><Relationship Id="rId31" Type="http://schemas.openxmlformats.org/officeDocument/2006/relationships/slide" Target="slides/slide6.xml"/><Relationship Id="rId44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Master" Target="slideMasters/slideMaster17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slide" Target="slides/slide18.xml"/><Relationship Id="rId48" Type="http://schemas.openxmlformats.org/officeDocument/2006/relationships/presProps" Target="presProps.xml"/><Relationship Id="rId8" Type="http://schemas.openxmlformats.org/officeDocument/2006/relationships/slideMaster" Target="slideMasters/slideMaster3.xml"/><Relationship Id="rId51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5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1BD5A22-8185-44E5-9CB3-777DF82C5E1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A5CD97B-D62C-46A0-BCFE-912ADF897071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reating a vision of Agile transformation</a:t>
          </a:r>
        </a:p>
        <a:p>
          <a:r>
            <a:rPr lang="en-GB" sz="16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en-GB" sz="1400" b="1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WHY</a:t>
          </a:r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1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gile</a:t>
          </a:r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- collaboration, satisfaction, speed…</a:t>
          </a:r>
        </a:p>
        <a:p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How several ways from change management</a:t>
          </a:r>
          <a:endParaRPr lang="en-GB" sz="14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5DAD664-5951-49BE-88A0-CE1AC54AB32B}" type="parTrans" cxnId="{DD37FFAD-4F29-42EB-B43D-4A045EBD2174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9072F3-2006-4286-981E-CE767A26F230}" type="sibTrans" cxnId="{DD37FFAD-4F29-42EB-B43D-4A045EBD2174}">
      <dgm:prSet/>
      <dgm:spPr>
        <a:ln>
          <a:solidFill>
            <a:srgbClr val="000099"/>
          </a:solidFill>
        </a:ln>
      </dgm:spPr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8752655-E1AF-472B-A3AD-A6E459690F06}">
      <dgm:prSet custT="1"/>
      <dgm:spPr>
        <a:solidFill>
          <a:schemeClr val="accent3"/>
        </a:solidFill>
        <a:ln>
          <a:noFill/>
        </a:ln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6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ear and open communication of transformation</a:t>
          </a:r>
          <a:endParaRPr lang="cs-CZ" sz="1600" u="none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cs-CZ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„</a:t>
          </a:r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formation radiators</a:t>
          </a:r>
          <a:r>
            <a:rPr lang="cs-CZ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“</a:t>
          </a:r>
          <a:endParaRPr lang="en-GB" sz="1400" u="none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transparent, safe information sharing</a:t>
          </a:r>
          <a:r>
            <a:rPr lang="cs-CZ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gm:t>
    </dgm:pt>
    <dgm:pt modelId="{24BA537D-AEB7-46F9-B70D-A746D91092A2}" type="parTrans" cxnId="{728443BA-578B-403B-93F6-10D97BCB5233}">
      <dgm:prSet/>
      <dgm:spPr/>
      <dgm:t>
        <a:bodyPr/>
        <a:lstStyle/>
        <a:p>
          <a:endParaRPr lang="en-US"/>
        </a:p>
      </dgm:t>
    </dgm:pt>
    <dgm:pt modelId="{EB86A10A-5F5A-4E40-ABE3-09C4BA1198A7}" type="sibTrans" cxnId="{728443BA-578B-403B-93F6-10D97BCB5233}">
      <dgm:prSet/>
      <dgm:spPr/>
      <dgm:t>
        <a:bodyPr/>
        <a:lstStyle/>
        <a:p>
          <a:endParaRPr lang="en-US"/>
        </a:p>
      </dgm:t>
    </dgm:pt>
    <dgm:pt modelId="{FA7606FE-5196-4A26-8369-A3A157CA0D0C}">
      <dgm:prSet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ergy:</a:t>
          </a:r>
        </a:p>
        <a:p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en-GB" sz="14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Openspace</a:t>
          </a:r>
          <a:endParaRPr lang="en-GB" sz="14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Slack, </a:t>
          </a:r>
          <a:r>
            <a:rPr lang="en-GB" sz="1400" u="none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rumnews</a:t>
          </a:r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whiteboards…</a:t>
          </a:r>
          <a:endParaRPr lang="en-GB" sz="14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5C441EB-5F44-4B53-8BDB-BFC0A17F31B8}" type="sibTrans" cxnId="{7938B76B-7884-41CB-BB9D-0C03D2FC0AFA}">
      <dgm:prSet/>
      <dgm:spPr/>
      <dgm:t>
        <a:bodyPr/>
        <a:lstStyle/>
        <a:p>
          <a:endParaRPr lang="en-US"/>
        </a:p>
      </dgm:t>
    </dgm:pt>
    <dgm:pt modelId="{4E53265A-3368-400A-A37F-737C5821B0D1}" type="parTrans" cxnId="{7938B76B-7884-41CB-BB9D-0C03D2FC0AFA}">
      <dgm:prSet/>
      <dgm:spPr/>
      <dgm:t>
        <a:bodyPr/>
        <a:lstStyle/>
        <a:p>
          <a:endParaRPr lang="en-US"/>
        </a:p>
      </dgm:t>
    </dgm:pt>
    <dgm:pt modelId="{04C3C4A8-3FD4-49B2-926E-33CD0FCC408C}" type="pres">
      <dgm:prSet presAssocID="{21BD5A22-8185-44E5-9CB3-777DF82C5E1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de-DE"/>
        </a:p>
      </dgm:t>
    </dgm:pt>
    <dgm:pt modelId="{383BF468-62D9-4346-BD92-86276472569C}" type="pres">
      <dgm:prSet presAssocID="{21BD5A22-8185-44E5-9CB3-777DF82C5E1E}" presName="Name1" presStyleCnt="0"/>
      <dgm:spPr/>
    </dgm:pt>
    <dgm:pt modelId="{B75194C3-C2BC-48E7-92E7-AA4F68C27AFC}" type="pres">
      <dgm:prSet presAssocID="{21BD5A22-8185-44E5-9CB3-777DF82C5E1E}" presName="cycle" presStyleCnt="0"/>
      <dgm:spPr/>
    </dgm:pt>
    <dgm:pt modelId="{207E8394-C466-42C1-A829-51A2C491B317}" type="pres">
      <dgm:prSet presAssocID="{21BD5A22-8185-44E5-9CB3-777DF82C5E1E}" presName="srcNode" presStyleLbl="node1" presStyleIdx="0" presStyleCnt="3"/>
      <dgm:spPr/>
    </dgm:pt>
    <dgm:pt modelId="{88B33855-0B59-42E9-B706-AD91B3876315}" type="pres">
      <dgm:prSet presAssocID="{21BD5A22-8185-44E5-9CB3-777DF82C5E1E}" presName="conn" presStyleLbl="parChTrans1D2" presStyleIdx="0" presStyleCnt="1"/>
      <dgm:spPr/>
      <dgm:t>
        <a:bodyPr/>
        <a:lstStyle/>
        <a:p>
          <a:endParaRPr lang="de-DE"/>
        </a:p>
      </dgm:t>
    </dgm:pt>
    <dgm:pt modelId="{0BAFD2D7-67BD-45B5-9384-68D61DF555AF}" type="pres">
      <dgm:prSet presAssocID="{21BD5A22-8185-44E5-9CB3-777DF82C5E1E}" presName="extraNode" presStyleLbl="node1" presStyleIdx="0" presStyleCnt="3"/>
      <dgm:spPr/>
    </dgm:pt>
    <dgm:pt modelId="{D77395D5-1EC4-4271-AFDD-13C4F74BF63C}" type="pres">
      <dgm:prSet presAssocID="{21BD5A22-8185-44E5-9CB3-777DF82C5E1E}" presName="dstNode" presStyleLbl="node1" presStyleIdx="0" presStyleCnt="3"/>
      <dgm:spPr/>
    </dgm:pt>
    <dgm:pt modelId="{A66CDB63-C7A5-4FAA-8AF2-5BB92B713624}" type="pres">
      <dgm:prSet presAssocID="{2A5CD97B-D62C-46A0-BCFE-912ADF897071}" presName="text_1" presStyleLbl="node1" presStyleIdx="0" presStyleCnt="3" custScaleY="130085" custLinFactNeighborX="-901" custLinFactNeighborY="-2522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4003CA-5E3B-4D68-B9DF-8E7BF683047C}" type="pres">
      <dgm:prSet presAssocID="{2A5CD97B-D62C-46A0-BCFE-912ADF897071}" presName="accent_1" presStyleCnt="0"/>
      <dgm:spPr/>
    </dgm:pt>
    <dgm:pt modelId="{64167E08-E870-4D56-82AA-FB170206DEF4}" type="pres">
      <dgm:prSet presAssocID="{2A5CD97B-D62C-46A0-BCFE-912ADF897071}" presName="accentRepeatNode" presStyleLbl="solidFgAcc1" presStyleIdx="0" presStyleCnt="3" custScaleX="109097" custScaleY="106638" custLinFactNeighborX="-12683" custLinFactNeighborY="-18896"/>
      <dgm:spPr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BF03F29D-095A-4302-88B3-9A1AE243EF25}" type="pres">
      <dgm:prSet presAssocID="{E8752655-E1AF-472B-A3AD-A6E459690F06}" presName="text_2" presStyleLbl="node1" presStyleIdx="1" presStyleCnt="3" custScaleY="9701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663CF0-7AA3-425B-B4E4-B7912250BE2B}" type="pres">
      <dgm:prSet presAssocID="{E8752655-E1AF-472B-A3AD-A6E459690F06}" presName="accent_2" presStyleCnt="0"/>
      <dgm:spPr/>
    </dgm:pt>
    <dgm:pt modelId="{F68EFEF6-36D4-4527-A7FC-4B711C3DC664}" type="pres">
      <dgm:prSet presAssocID="{E8752655-E1AF-472B-A3AD-A6E459690F06}" presName="accentRepeatNode" presStyleLbl="solidFgAcc1" presStyleIdx="1" presStyleCnt="3" custScaleX="83490" custScaleY="81573" custLinFactNeighborX="-9309" custLinFactNeighborY="1982"/>
      <dgm:spPr>
        <a:solidFill>
          <a:srgbClr val="000099"/>
        </a:solidFill>
        <a:ln>
          <a:noFill/>
        </a:ln>
      </dgm:spPr>
      <dgm:t>
        <a:bodyPr/>
        <a:lstStyle/>
        <a:p>
          <a:endParaRPr lang="en-US"/>
        </a:p>
      </dgm:t>
    </dgm:pt>
    <dgm:pt modelId="{FFC5D2A0-0DD7-41DC-BDA2-62826D9FFF24}" type="pres">
      <dgm:prSet presAssocID="{FA7606FE-5196-4A26-8369-A3A157CA0D0C}" presName="text_3" presStyleLbl="node1" presStyleIdx="2" presStyleCnt="3" custScaleY="9552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CBAE24-12B1-4E25-AD74-42CC468DB4EE}" type="pres">
      <dgm:prSet presAssocID="{FA7606FE-5196-4A26-8369-A3A157CA0D0C}" presName="accent_3" presStyleCnt="0"/>
      <dgm:spPr/>
    </dgm:pt>
    <dgm:pt modelId="{8A0DB3C0-F570-4E53-9C5E-FA66B01CCB11}" type="pres">
      <dgm:prSet presAssocID="{FA7606FE-5196-4A26-8369-A3A157CA0D0C}" presName="accentRepeatNode" presStyleLbl="solidFgAcc1" presStyleIdx="2" presStyleCnt="3" custScaleX="79103" custScaleY="79102" custLinFactNeighborX="-1824" custLinFactNeighborY="-1342"/>
      <dgm:spPr>
        <a:solidFill>
          <a:srgbClr val="FFE100"/>
        </a:solidFill>
        <a:ln>
          <a:noFill/>
        </a:ln>
      </dgm:spPr>
      <dgm:t>
        <a:bodyPr/>
        <a:lstStyle/>
        <a:p>
          <a:endParaRPr lang="en-US"/>
        </a:p>
      </dgm:t>
    </dgm:pt>
  </dgm:ptLst>
  <dgm:cxnLst>
    <dgm:cxn modelId="{7938B76B-7884-41CB-BB9D-0C03D2FC0AFA}" srcId="{21BD5A22-8185-44E5-9CB3-777DF82C5E1E}" destId="{FA7606FE-5196-4A26-8369-A3A157CA0D0C}" srcOrd="2" destOrd="0" parTransId="{4E53265A-3368-400A-A37F-737C5821B0D1}" sibTransId="{75C441EB-5F44-4B53-8BDB-BFC0A17F31B8}"/>
    <dgm:cxn modelId="{DD37FFAD-4F29-42EB-B43D-4A045EBD2174}" srcId="{21BD5A22-8185-44E5-9CB3-777DF82C5E1E}" destId="{2A5CD97B-D62C-46A0-BCFE-912ADF897071}" srcOrd="0" destOrd="0" parTransId="{A5DAD664-5951-49BE-88A0-CE1AC54AB32B}" sibTransId="{669072F3-2006-4286-981E-CE767A26F230}"/>
    <dgm:cxn modelId="{656276FC-CF03-4017-BBC3-45447FA642AE}" type="presOf" srcId="{E8752655-E1AF-472B-A3AD-A6E459690F06}" destId="{BF03F29D-095A-4302-88B3-9A1AE243EF25}" srcOrd="0" destOrd="0" presId="urn:microsoft.com/office/officeart/2008/layout/VerticalCurvedList"/>
    <dgm:cxn modelId="{183168DD-0CB7-453A-8302-B689E59D2A52}" type="presOf" srcId="{FA7606FE-5196-4A26-8369-A3A157CA0D0C}" destId="{FFC5D2A0-0DD7-41DC-BDA2-62826D9FFF24}" srcOrd="0" destOrd="0" presId="urn:microsoft.com/office/officeart/2008/layout/VerticalCurvedList"/>
    <dgm:cxn modelId="{2A20FA59-A3E7-412C-B234-6B59CAF68DA1}" type="presOf" srcId="{2A5CD97B-D62C-46A0-BCFE-912ADF897071}" destId="{A66CDB63-C7A5-4FAA-8AF2-5BB92B713624}" srcOrd="0" destOrd="0" presId="urn:microsoft.com/office/officeart/2008/layout/VerticalCurvedList"/>
    <dgm:cxn modelId="{575703C5-4623-4CCA-8668-F9B1456DB9FB}" type="presOf" srcId="{669072F3-2006-4286-981E-CE767A26F230}" destId="{88B33855-0B59-42E9-B706-AD91B3876315}" srcOrd="0" destOrd="0" presId="urn:microsoft.com/office/officeart/2008/layout/VerticalCurvedList"/>
    <dgm:cxn modelId="{625AD717-7384-48AA-8253-E09B21C81283}" type="presOf" srcId="{21BD5A22-8185-44E5-9CB3-777DF82C5E1E}" destId="{04C3C4A8-3FD4-49B2-926E-33CD0FCC408C}" srcOrd="0" destOrd="0" presId="urn:microsoft.com/office/officeart/2008/layout/VerticalCurvedList"/>
    <dgm:cxn modelId="{728443BA-578B-403B-93F6-10D97BCB5233}" srcId="{21BD5A22-8185-44E5-9CB3-777DF82C5E1E}" destId="{E8752655-E1AF-472B-A3AD-A6E459690F06}" srcOrd="1" destOrd="0" parTransId="{24BA537D-AEB7-46F9-B70D-A746D91092A2}" sibTransId="{EB86A10A-5F5A-4E40-ABE3-09C4BA1198A7}"/>
    <dgm:cxn modelId="{54E4773E-2DCC-4134-B9AC-3F9628A3FA0D}" type="presParOf" srcId="{04C3C4A8-3FD4-49B2-926E-33CD0FCC408C}" destId="{383BF468-62D9-4346-BD92-86276472569C}" srcOrd="0" destOrd="0" presId="urn:microsoft.com/office/officeart/2008/layout/VerticalCurvedList"/>
    <dgm:cxn modelId="{DEF72251-0009-4AB6-95F4-4359FF03E8B5}" type="presParOf" srcId="{383BF468-62D9-4346-BD92-86276472569C}" destId="{B75194C3-C2BC-48E7-92E7-AA4F68C27AFC}" srcOrd="0" destOrd="0" presId="urn:microsoft.com/office/officeart/2008/layout/VerticalCurvedList"/>
    <dgm:cxn modelId="{20551C74-60C0-47D3-9616-106B3D7E3FCD}" type="presParOf" srcId="{B75194C3-C2BC-48E7-92E7-AA4F68C27AFC}" destId="{207E8394-C466-42C1-A829-51A2C491B317}" srcOrd="0" destOrd="0" presId="urn:microsoft.com/office/officeart/2008/layout/VerticalCurvedList"/>
    <dgm:cxn modelId="{C8651734-2276-41A9-92CD-F49869E54BDD}" type="presParOf" srcId="{B75194C3-C2BC-48E7-92E7-AA4F68C27AFC}" destId="{88B33855-0B59-42E9-B706-AD91B3876315}" srcOrd="1" destOrd="0" presId="urn:microsoft.com/office/officeart/2008/layout/VerticalCurvedList"/>
    <dgm:cxn modelId="{5998F88B-B8B1-4945-B6DF-C04B810AD0E3}" type="presParOf" srcId="{B75194C3-C2BC-48E7-92E7-AA4F68C27AFC}" destId="{0BAFD2D7-67BD-45B5-9384-68D61DF555AF}" srcOrd="2" destOrd="0" presId="urn:microsoft.com/office/officeart/2008/layout/VerticalCurvedList"/>
    <dgm:cxn modelId="{6ACCDDE8-597E-4A35-A27D-0BCB02DF625B}" type="presParOf" srcId="{B75194C3-C2BC-48E7-92E7-AA4F68C27AFC}" destId="{D77395D5-1EC4-4271-AFDD-13C4F74BF63C}" srcOrd="3" destOrd="0" presId="urn:microsoft.com/office/officeart/2008/layout/VerticalCurvedList"/>
    <dgm:cxn modelId="{537931DF-DA36-40EC-A4CB-5B1DA44497BB}" type="presParOf" srcId="{383BF468-62D9-4346-BD92-86276472569C}" destId="{A66CDB63-C7A5-4FAA-8AF2-5BB92B713624}" srcOrd="1" destOrd="0" presId="urn:microsoft.com/office/officeart/2008/layout/VerticalCurvedList"/>
    <dgm:cxn modelId="{CB2DAF93-5FD9-4826-B8FC-8516590D9E13}" type="presParOf" srcId="{383BF468-62D9-4346-BD92-86276472569C}" destId="{444003CA-5E3B-4D68-B9DF-8E7BF683047C}" srcOrd="2" destOrd="0" presId="urn:microsoft.com/office/officeart/2008/layout/VerticalCurvedList"/>
    <dgm:cxn modelId="{60C8A995-2025-4790-A998-8621DDD77B2C}" type="presParOf" srcId="{444003CA-5E3B-4D68-B9DF-8E7BF683047C}" destId="{64167E08-E870-4D56-82AA-FB170206DEF4}" srcOrd="0" destOrd="0" presId="urn:microsoft.com/office/officeart/2008/layout/VerticalCurvedList"/>
    <dgm:cxn modelId="{0F471346-A1FA-473D-962B-E435F3CA8C4B}" type="presParOf" srcId="{383BF468-62D9-4346-BD92-86276472569C}" destId="{BF03F29D-095A-4302-88B3-9A1AE243EF25}" srcOrd="3" destOrd="0" presId="urn:microsoft.com/office/officeart/2008/layout/VerticalCurvedList"/>
    <dgm:cxn modelId="{C728B9A9-21B2-4E5B-B5DC-5393EE5731B9}" type="presParOf" srcId="{383BF468-62D9-4346-BD92-86276472569C}" destId="{BA663CF0-7AA3-425B-B4E4-B7912250BE2B}" srcOrd="4" destOrd="0" presId="urn:microsoft.com/office/officeart/2008/layout/VerticalCurvedList"/>
    <dgm:cxn modelId="{C8A31F4F-F635-4C65-A822-BB50C45180DB}" type="presParOf" srcId="{BA663CF0-7AA3-425B-B4E4-B7912250BE2B}" destId="{F68EFEF6-36D4-4527-A7FC-4B711C3DC664}" srcOrd="0" destOrd="0" presId="urn:microsoft.com/office/officeart/2008/layout/VerticalCurvedList"/>
    <dgm:cxn modelId="{80BD17D3-305C-4754-A8F6-778688E60823}" type="presParOf" srcId="{383BF468-62D9-4346-BD92-86276472569C}" destId="{FFC5D2A0-0DD7-41DC-BDA2-62826D9FFF24}" srcOrd="5" destOrd="0" presId="urn:microsoft.com/office/officeart/2008/layout/VerticalCurvedList"/>
    <dgm:cxn modelId="{CAD5077C-809D-46D3-ABA9-F3CA3832F01D}" type="presParOf" srcId="{383BF468-62D9-4346-BD92-86276472569C}" destId="{C2CBAE24-12B1-4E25-AD74-42CC468DB4EE}" srcOrd="6" destOrd="0" presId="urn:microsoft.com/office/officeart/2008/layout/VerticalCurvedList"/>
    <dgm:cxn modelId="{1591EAA1-1DAC-4947-AD4F-46C98ABC82BF}" type="presParOf" srcId="{C2CBAE24-12B1-4E25-AD74-42CC468DB4EE}" destId="{8A0DB3C0-F570-4E53-9C5E-FA66B01CCB1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1BD5A22-8185-44E5-9CB3-777DF82C5E1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A5CD97B-D62C-46A0-BCFE-912ADF897071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ansition backlog (items supporting agile transition) </a:t>
          </a:r>
          <a:endParaRPr lang="en-GB" sz="1600" u="none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en-GB" sz="16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Structures, policies, practices, culture</a:t>
          </a:r>
        </a:p>
      </dgm:t>
    </dgm:pt>
    <dgm:pt modelId="{A5DAD664-5951-49BE-88A0-CE1AC54AB32B}" type="parTrans" cxnId="{DD37FFAD-4F29-42EB-B43D-4A045EBD2174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9072F3-2006-4286-981E-CE767A26F230}" type="sibTrans" cxnId="{DD37FFAD-4F29-42EB-B43D-4A045EBD2174}">
      <dgm:prSet/>
      <dgm:spPr>
        <a:ln>
          <a:solidFill>
            <a:srgbClr val="000099"/>
          </a:solidFill>
        </a:ln>
      </dgm:spPr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453242-5814-4D53-9B61-690739518590}">
      <dgm:prSet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rom individual to team perspective/view</a:t>
          </a:r>
          <a:endParaRPr lang="en-GB" sz="16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8F0E36F-2074-4FD7-9E58-FE8F30A12600}" type="parTrans" cxnId="{35637EC7-607F-4614-A8BF-4FA3B9757E18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EFCD35D-B8B4-4AA5-970A-12A14CA1261C}" type="sibTrans" cxnId="{35637EC7-607F-4614-A8BF-4FA3B9757E18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9B1DB3B-78E1-479B-A590-485F158062E3}">
      <dgm:prSet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ergy:</a:t>
          </a:r>
        </a:p>
        <a:p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Team targets</a:t>
          </a:r>
        </a:p>
        <a:p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Line structure reorganization</a:t>
          </a:r>
        </a:p>
      </dgm:t>
    </dgm:pt>
    <dgm:pt modelId="{CD55B6DB-2462-43AF-A62F-589136D37976}" type="parTrans" cxnId="{5D843BE3-9A85-4D76-97A4-E148DDCE2B84}">
      <dgm:prSet/>
      <dgm:spPr/>
      <dgm:t>
        <a:bodyPr/>
        <a:lstStyle/>
        <a:p>
          <a:endParaRPr lang="en-US"/>
        </a:p>
      </dgm:t>
    </dgm:pt>
    <dgm:pt modelId="{B845B95E-1B55-4BEE-B4D7-22AFFD39C73F}" type="sibTrans" cxnId="{5D843BE3-9A85-4D76-97A4-E148DDCE2B84}">
      <dgm:prSet/>
      <dgm:spPr/>
      <dgm:t>
        <a:bodyPr/>
        <a:lstStyle/>
        <a:p>
          <a:endParaRPr lang="en-US"/>
        </a:p>
      </dgm:t>
    </dgm:pt>
    <dgm:pt modelId="{04C3C4A8-3FD4-49B2-926E-33CD0FCC408C}" type="pres">
      <dgm:prSet presAssocID="{21BD5A22-8185-44E5-9CB3-777DF82C5E1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de-DE"/>
        </a:p>
      </dgm:t>
    </dgm:pt>
    <dgm:pt modelId="{383BF468-62D9-4346-BD92-86276472569C}" type="pres">
      <dgm:prSet presAssocID="{21BD5A22-8185-44E5-9CB3-777DF82C5E1E}" presName="Name1" presStyleCnt="0"/>
      <dgm:spPr/>
    </dgm:pt>
    <dgm:pt modelId="{B75194C3-C2BC-48E7-92E7-AA4F68C27AFC}" type="pres">
      <dgm:prSet presAssocID="{21BD5A22-8185-44E5-9CB3-777DF82C5E1E}" presName="cycle" presStyleCnt="0"/>
      <dgm:spPr/>
    </dgm:pt>
    <dgm:pt modelId="{207E8394-C466-42C1-A829-51A2C491B317}" type="pres">
      <dgm:prSet presAssocID="{21BD5A22-8185-44E5-9CB3-777DF82C5E1E}" presName="srcNode" presStyleLbl="node1" presStyleIdx="0" presStyleCnt="3"/>
      <dgm:spPr/>
    </dgm:pt>
    <dgm:pt modelId="{88B33855-0B59-42E9-B706-AD91B3876315}" type="pres">
      <dgm:prSet presAssocID="{21BD5A22-8185-44E5-9CB3-777DF82C5E1E}" presName="conn" presStyleLbl="parChTrans1D2" presStyleIdx="0" presStyleCnt="1"/>
      <dgm:spPr/>
      <dgm:t>
        <a:bodyPr/>
        <a:lstStyle/>
        <a:p>
          <a:endParaRPr lang="de-DE"/>
        </a:p>
      </dgm:t>
    </dgm:pt>
    <dgm:pt modelId="{0BAFD2D7-67BD-45B5-9384-68D61DF555AF}" type="pres">
      <dgm:prSet presAssocID="{21BD5A22-8185-44E5-9CB3-777DF82C5E1E}" presName="extraNode" presStyleLbl="node1" presStyleIdx="0" presStyleCnt="3"/>
      <dgm:spPr/>
    </dgm:pt>
    <dgm:pt modelId="{D77395D5-1EC4-4271-AFDD-13C4F74BF63C}" type="pres">
      <dgm:prSet presAssocID="{21BD5A22-8185-44E5-9CB3-777DF82C5E1E}" presName="dstNode" presStyleLbl="node1" presStyleIdx="0" presStyleCnt="3"/>
      <dgm:spPr/>
    </dgm:pt>
    <dgm:pt modelId="{A66CDB63-C7A5-4FAA-8AF2-5BB92B713624}" type="pres">
      <dgm:prSet presAssocID="{2A5CD97B-D62C-46A0-BCFE-912ADF897071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4003CA-5E3B-4D68-B9DF-8E7BF683047C}" type="pres">
      <dgm:prSet presAssocID="{2A5CD97B-D62C-46A0-BCFE-912ADF897071}" presName="accent_1" presStyleCnt="0"/>
      <dgm:spPr/>
    </dgm:pt>
    <dgm:pt modelId="{64167E08-E870-4D56-82AA-FB170206DEF4}" type="pres">
      <dgm:prSet presAssocID="{2A5CD97B-D62C-46A0-BCFE-912ADF897071}" presName="accentRepeatNode" presStyleLbl="solidFgAcc1" presStyleIdx="0" presStyleCnt="3" custScaleX="75828" custScaleY="83814"/>
      <dgm:spPr>
        <a:solidFill>
          <a:srgbClr val="000099"/>
        </a:solidFill>
        <a:ln>
          <a:noFill/>
        </a:ln>
      </dgm:spPr>
    </dgm:pt>
    <dgm:pt modelId="{72B7FFB8-43F0-458A-82B2-3CF38E9B92CA}" type="pres">
      <dgm:prSet presAssocID="{77453242-5814-4D53-9B61-690739518590}" presName="text_2" presStyleLbl="node1" presStyleIdx="1" presStyleCnt="3" custScaleY="7147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A231AF-FC2F-4F37-9AAD-9B022CE82CAD}" type="pres">
      <dgm:prSet presAssocID="{77453242-5814-4D53-9B61-690739518590}" presName="accent_2" presStyleCnt="0"/>
      <dgm:spPr/>
    </dgm:pt>
    <dgm:pt modelId="{88F512CA-81B4-4B48-A8AF-5F8355AC8947}" type="pres">
      <dgm:prSet presAssocID="{77453242-5814-4D53-9B61-690739518590}" presName="accentRepeatNode" presStyleLbl="solidFgAcc1" presStyleIdx="1" presStyleCnt="3" custScaleX="56465" custScaleY="57090" custLinFactNeighborY="0"/>
      <dgm:spPr>
        <a:solidFill>
          <a:srgbClr val="000099"/>
        </a:solidFill>
        <a:ln>
          <a:noFill/>
        </a:ln>
      </dgm:spPr>
    </dgm:pt>
    <dgm:pt modelId="{821483A2-14AE-466C-AB82-3B137DD62F7F}" type="pres">
      <dgm:prSet presAssocID="{49B1DB3B-78E1-479B-A590-485F158062E3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01E783-409A-42E9-8ABD-A5C31D6B6B31}" type="pres">
      <dgm:prSet presAssocID="{49B1DB3B-78E1-479B-A590-485F158062E3}" presName="accent_3" presStyleCnt="0"/>
      <dgm:spPr/>
    </dgm:pt>
    <dgm:pt modelId="{9A3B318E-9C64-4647-879C-1BA83A337742}" type="pres">
      <dgm:prSet presAssocID="{49B1DB3B-78E1-479B-A590-485F158062E3}" presName="accentRepeatNode" presStyleLbl="solidFgAcc1" presStyleIdx="2" presStyleCnt="3" custScaleX="89223" custScaleY="83723"/>
      <dgm:spPr>
        <a:solidFill>
          <a:srgbClr val="FFE100"/>
        </a:solidFill>
        <a:ln>
          <a:noFill/>
        </a:ln>
      </dgm:spPr>
      <dgm:t>
        <a:bodyPr/>
        <a:lstStyle/>
        <a:p>
          <a:endParaRPr lang="en-US"/>
        </a:p>
      </dgm:t>
    </dgm:pt>
  </dgm:ptLst>
  <dgm:cxnLst>
    <dgm:cxn modelId="{35637EC7-607F-4614-A8BF-4FA3B9757E18}" srcId="{21BD5A22-8185-44E5-9CB3-777DF82C5E1E}" destId="{77453242-5814-4D53-9B61-690739518590}" srcOrd="1" destOrd="0" parTransId="{F8F0E36F-2074-4FD7-9E58-FE8F30A12600}" sibTransId="{AEFCD35D-B8B4-4AA5-970A-12A14CA1261C}"/>
    <dgm:cxn modelId="{DD37FFAD-4F29-42EB-B43D-4A045EBD2174}" srcId="{21BD5A22-8185-44E5-9CB3-777DF82C5E1E}" destId="{2A5CD97B-D62C-46A0-BCFE-912ADF897071}" srcOrd="0" destOrd="0" parTransId="{A5DAD664-5951-49BE-88A0-CE1AC54AB32B}" sibTransId="{669072F3-2006-4286-981E-CE767A26F230}"/>
    <dgm:cxn modelId="{575703C5-4623-4CCA-8668-F9B1456DB9FB}" type="presOf" srcId="{669072F3-2006-4286-981E-CE767A26F230}" destId="{88B33855-0B59-42E9-B706-AD91B3876315}" srcOrd="0" destOrd="0" presId="urn:microsoft.com/office/officeart/2008/layout/VerticalCurvedList"/>
    <dgm:cxn modelId="{97D8AB68-39FD-4249-B999-32D65C95BA13}" type="presOf" srcId="{49B1DB3B-78E1-479B-A590-485F158062E3}" destId="{821483A2-14AE-466C-AB82-3B137DD62F7F}" srcOrd="0" destOrd="0" presId="urn:microsoft.com/office/officeart/2008/layout/VerticalCurvedList"/>
    <dgm:cxn modelId="{5D843BE3-9A85-4D76-97A4-E148DDCE2B84}" srcId="{21BD5A22-8185-44E5-9CB3-777DF82C5E1E}" destId="{49B1DB3B-78E1-479B-A590-485F158062E3}" srcOrd="2" destOrd="0" parTransId="{CD55B6DB-2462-43AF-A62F-589136D37976}" sibTransId="{B845B95E-1B55-4BEE-B4D7-22AFFD39C73F}"/>
    <dgm:cxn modelId="{2A20FA59-A3E7-412C-B234-6B59CAF68DA1}" type="presOf" srcId="{2A5CD97B-D62C-46A0-BCFE-912ADF897071}" destId="{A66CDB63-C7A5-4FAA-8AF2-5BB92B713624}" srcOrd="0" destOrd="0" presId="urn:microsoft.com/office/officeart/2008/layout/VerticalCurvedList"/>
    <dgm:cxn modelId="{625AD717-7384-48AA-8253-E09B21C81283}" type="presOf" srcId="{21BD5A22-8185-44E5-9CB3-777DF82C5E1E}" destId="{04C3C4A8-3FD4-49B2-926E-33CD0FCC408C}" srcOrd="0" destOrd="0" presId="urn:microsoft.com/office/officeart/2008/layout/VerticalCurvedList"/>
    <dgm:cxn modelId="{6574095C-8AF8-4BAF-8DBA-DF343124DF84}" type="presOf" srcId="{77453242-5814-4D53-9B61-690739518590}" destId="{72B7FFB8-43F0-458A-82B2-3CF38E9B92CA}" srcOrd="0" destOrd="0" presId="urn:microsoft.com/office/officeart/2008/layout/VerticalCurvedList"/>
    <dgm:cxn modelId="{54E4773E-2DCC-4134-B9AC-3F9628A3FA0D}" type="presParOf" srcId="{04C3C4A8-3FD4-49B2-926E-33CD0FCC408C}" destId="{383BF468-62D9-4346-BD92-86276472569C}" srcOrd="0" destOrd="0" presId="urn:microsoft.com/office/officeart/2008/layout/VerticalCurvedList"/>
    <dgm:cxn modelId="{DEF72251-0009-4AB6-95F4-4359FF03E8B5}" type="presParOf" srcId="{383BF468-62D9-4346-BD92-86276472569C}" destId="{B75194C3-C2BC-48E7-92E7-AA4F68C27AFC}" srcOrd="0" destOrd="0" presId="urn:microsoft.com/office/officeart/2008/layout/VerticalCurvedList"/>
    <dgm:cxn modelId="{20551C74-60C0-47D3-9616-106B3D7E3FCD}" type="presParOf" srcId="{B75194C3-C2BC-48E7-92E7-AA4F68C27AFC}" destId="{207E8394-C466-42C1-A829-51A2C491B317}" srcOrd="0" destOrd="0" presId="urn:microsoft.com/office/officeart/2008/layout/VerticalCurvedList"/>
    <dgm:cxn modelId="{C8651734-2276-41A9-92CD-F49869E54BDD}" type="presParOf" srcId="{B75194C3-C2BC-48E7-92E7-AA4F68C27AFC}" destId="{88B33855-0B59-42E9-B706-AD91B3876315}" srcOrd="1" destOrd="0" presId="urn:microsoft.com/office/officeart/2008/layout/VerticalCurvedList"/>
    <dgm:cxn modelId="{5998F88B-B8B1-4945-B6DF-C04B810AD0E3}" type="presParOf" srcId="{B75194C3-C2BC-48E7-92E7-AA4F68C27AFC}" destId="{0BAFD2D7-67BD-45B5-9384-68D61DF555AF}" srcOrd="2" destOrd="0" presId="urn:microsoft.com/office/officeart/2008/layout/VerticalCurvedList"/>
    <dgm:cxn modelId="{6ACCDDE8-597E-4A35-A27D-0BCB02DF625B}" type="presParOf" srcId="{B75194C3-C2BC-48E7-92E7-AA4F68C27AFC}" destId="{D77395D5-1EC4-4271-AFDD-13C4F74BF63C}" srcOrd="3" destOrd="0" presId="urn:microsoft.com/office/officeart/2008/layout/VerticalCurvedList"/>
    <dgm:cxn modelId="{537931DF-DA36-40EC-A4CB-5B1DA44497BB}" type="presParOf" srcId="{383BF468-62D9-4346-BD92-86276472569C}" destId="{A66CDB63-C7A5-4FAA-8AF2-5BB92B713624}" srcOrd="1" destOrd="0" presId="urn:microsoft.com/office/officeart/2008/layout/VerticalCurvedList"/>
    <dgm:cxn modelId="{CB2DAF93-5FD9-4826-B8FC-8516590D9E13}" type="presParOf" srcId="{383BF468-62D9-4346-BD92-86276472569C}" destId="{444003CA-5E3B-4D68-B9DF-8E7BF683047C}" srcOrd="2" destOrd="0" presId="urn:microsoft.com/office/officeart/2008/layout/VerticalCurvedList"/>
    <dgm:cxn modelId="{60C8A995-2025-4790-A998-8621DDD77B2C}" type="presParOf" srcId="{444003CA-5E3B-4D68-B9DF-8E7BF683047C}" destId="{64167E08-E870-4D56-82AA-FB170206DEF4}" srcOrd="0" destOrd="0" presId="urn:microsoft.com/office/officeart/2008/layout/VerticalCurvedList"/>
    <dgm:cxn modelId="{0338CB69-398B-4D6C-BA37-E49371B3A9A7}" type="presParOf" srcId="{383BF468-62D9-4346-BD92-86276472569C}" destId="{72B7FFB8-43F0-458A-82B2-3CF38E9B92CA}" srcOrd="3" destOrd="0" presId="urn:microsoft.com/office/officeart/2008/layout/VerticalCurvedList"/>
    <dgm:cxn modelId="{9519E619-2A75-47A7-9365-B0D2917ED05C}" type="presParOf" srcId="{383BF468-62D9-4346-BD92-86276472569C}" destId="{A9A231AF-FC2F-4F37-9AAD-9B022CE82CAD}" srcOrd="4" destOrd="0" presId="urn:microsoft.com/office/officeart/2008/layout/VerticalCurvedList"/>
    <dgm:cxn modelId="{9C7A26D1-49CC-4959-8028-41D7173BEC59}" type="presParOf" srcId="{A9A231AF-FC2F-4F37-9AAD-9B022CE82CAD}" destId="{88F512CA-81B4-4B48-A8AF-5F8355AC8947}" srcOrd="0" destOrd="0" presId="urn:microsoft.com/office/officeart/2008/layout/VerticalCurvedList"/>
    <dgm:cxn modelId="{154EAC57-5D45-4209-9857-435D49C04282}" type="presParOf" srcId="{383BF468-62D9-4346-BD92-86276472569C}" destId="{821483A2-14AE-466C-AB82-3B137DD62F7F}" srcOrd="5" destOrd="0" presId="urn:microsoft.com/office/officeart/2008/layout/VerticalCurvedList"/>
    <dgm:cxn modelId="{F99E76BD-955E-4293-9BA3-668B0D6427C8}" type="presParOf" srcId="{383BF468-62D9-4346-BD92-86276472569C}" destId="{9E01E783-409A-42E9-8ABD-A5C31D6B6B31}" srcOrd="6" destOrd="0" presId="urn:microsoft.com/office/officeart/2008/layout/VerticalCurvedList"/>
    <dgm:cxn modelId="{E70FF429-08C1-45A2-B5E5-F8C3C1A46DD2}" type="presParOf" srcId="{9E01E783-409A-42E9-8ABD-A5C31D6B6B31}" destId="{9A3B318E-9C64-4647-879C-1BA83A33774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1BD5A22-8185-44E5-9CB3-777DF82C5E1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A5CD97B-D62C-46A0-BCFE-912ADF897071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ear product definition and bounder</a:t>
          </a:r>
          <a:r>
            <a:rPr lang="cs-CZ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y</a:t>
          </a:r>
          <a:endParaRPr lang="en-GB" sz="16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Energy agile workshops with stakeholders</a:t>
          </a:r>
        </a:p>
        <a:p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Identify</a:t>
          </a:r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your development type</a:t>
          </a:r>
        </a:p>
      </dgm:t>
    </dgm:pt>
    <dgm:pt modelId="{A5DAD664-5951-49BE-88A0-CE1AC54AB32B}" type="parTrans" cxnId="{DD37FFAD-4F29-42EB-B43D-4A045EBD2174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9072F3-2006-4286-981E-CE767A26F230}" type="sibTrans" cxnId="{DD37FFAD-4F29-42EB-B43D-4A045EBD2174}">
      <dgm:prSet/>
      <dgm:spPr>
        <a:ln>
          <a:solidFill>
            <a:srgbClr val="000099"/>
          </a:solidFill>
        </a:ln>
      </dgm:spPr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2BA3047-FB09-4CA2-A2F1-78B5F6B9C4FC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duct owner role</a:t>
          </a:r>
          <a:endParaRPr lang="en-GB" sz="14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D1B89BE-19E8-49B2-A7A3-E1E987EAD024}" type="parTrans" cxnId="{43C20FB4-C699-463A-9F53-E36F7C940395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7D1BC60-C99D-4497-959A-ED0A0BEDF419}" type="sibTrans" cxnId="{43C20FB4-C699-463A-9F53-E36F7C940395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FA0A9AD-1A62-4EAD-A771-FA4B71C62684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6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ergy:</a:t>
          </a:r>
        </a:p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Product vision, roadmaps in Aha!</a:t>
          </a:r>
        </a:p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Product development</a:t>
          </a:r>
        </a:p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Product owner TBD</a:t>
          </a:r>
          <a:endParaRPr lang="en-GB" sz="14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BF4AB65-52FA-41CF-846C-DC6D29CCC118}" type="parTrans" cxnId="{DA7CCD71-3EB2-4ED0-8D93-70169EB7545A}">
      <dgm:prSet/>
      <dgm:spPr/>
      <dgm:t>
        <a:bodyPr/>
        <a:lstStyle/>
        <a:p>
          <a:endParaRPr lang="en-US"/>
        </a:p>
      </dgm:t>
    </dgm:pt>
    <dgm:pt modelId="{42701BFE-BC96-4E8D-9EA6-1265EABC48DD}" type="sibTrans" cxnId="{DA7CCD71-3EB2-4ED0-8D93-70169EB7545A}">
      <dgm:prSet/>
      <dgm:spPr/>
      <dgm:t>
        <a:bodyPr/>
        <a:lstStyle/>
        <a:p>
          <a:endParaRPr lang="en-US"/>
        </a:p>
      </dgm:t>
    </dgm:pt>
    <dgm:pt modelId="{04C3C4A8-3FD4-49B2-926E-33CD0FCC408C}" type="pres">
      <dgm:prSet presAssocID="{21BD5A22-8185-44E5-9CB3-777DF82C5E1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de-DE"/>
        </a:p>
      </dgm:t>
    </dgm:pt>
    <dgm:pt modelId="{383BF468-62D9-4346-BD92-86276472569C}" type="pres">
      <dgm:prSet presAssocID="{21BD5A22-8185-44E5-9CB3-777DF82C5E1E}" presName="Name1" presStyleCnt="0"/>
      <dgm:spPr/>
    </dgm:pt>
    <dgm:pt modelId="{B75194C3-C2BC-48E7-92E7-AA4F68C27AFC}" type="pres">
      <dgm:prSet presAssocID="{21BD5A22-8185-44E5-9CB3-777DF82C5E1E}" presName="cycle" presStyleCnt="0"/>
      <dgm:spPr/>
    </dgm:pt>
    <dgm:pt modelId="{207E8394-C466-42C1-A829-51A2C491B317}" type="pres">
      <dgm:prSet presAssocID="{21BD5A22-8185-44E5-9CB3-777DF82C5E1E}" presName="srcNode" presStyleLbl="node1" presStyleIdx="0" presStyleCnt="3"/>
      <dgm:spPr/>
    </dgm:pt>
    <dgm:pt modelId="{88B33855-0B59-42E9-B706-AD91B3876315}" type="pres">
      <dgm:prSet presAssocID="{21BD5A22-8185-44E5-9CB3-777DF82C5E1E}" presName="conn" presStyleLbl="parChTrans1D2" presStyleIdx="0" presStyleCnt="1"/>
      <dgm:spPr/>
      <dgm:t>
        <a:bodyPr/>
        <a:lstStyle/>
        <a:p>
          <a:endParaRPr lang="de-DE"/>
        </a:p>
      </dgm:t>
    </dgm:pt>
    <dgm:pt modelId="{0BAFD2D7-67BD-45B5-9384-68D61DF555AF}" type="pres">
      <dgm:prSet presAssocID="{21BD5A22-8185-44E5-9CB3-777DF82C5E1E}" presName="extraNode" presStyleLbl="node1" presStyleIdx="0" presStyleCnt="3"/>
      <dgm:spPr/>
    </dgm:pt>
    <dgm:pt modelId="{D77395D5-1EC4-4271-AFDD-13C4F74BF63C}" type="pres">
      <dgm:prSet presAssocID="{21BD5A22-8185-44E5-9CB3-777DF82C5E1E}" presName="dstNode" presStyleLbl="node1" presStyleIdx="0" presStyleCnt="3"/>
      <dgm:spPr/>
    </dgm:pt>
    <dgm:pt modelId="{A66CDB63-C7A5-4FAA-8AF2-5BB92B713624}" type="pres">
      <dgm:prSet presAssocID="{2A5CD97B-D62C-46A0-BCFE-912ADF897071}" presName="text_1" presStyleLbl="node1" presStyleIdx="0" presStyleCnt="3" custScaleY="12063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4003CA-5E3B-4D68-B9DF-8E7BF683047C}" type="pres">
      <dgm:prSet presAssocID="{2A5CD97B-D62C-46A0-BCFE-912ADF897071}" presName="accent_1" presStyleCnt="0"/>
      <dgm:spPr/>
    </dgm:pt>
    <dgm:pt modelId="{64167E08-E870-4D56-82AA-FB170206DEF4}" type="pres">
      <dgm:prSet presAssocID="{2A5CD97B-D62C-46A0-BCFE-912ADF897071}" presName="accentRepeatNode" presStyleLbl="solidFgAcc1" presStyleIdx="0" presStyleCnt="3"/>
      <dgm:spPr>
        <a:solidFill>
          <a:srgbClr val="000099"/>
        </a:solidFill>
        <a:ln>
          <a:noFill/>
        </a:ln>
      </dgm:spPr>
    </dgm:pt>
    <dgm:pt modelId="{88EFEB7E-4AFD-415A-8499-7AD0959093EB}" type="pres">
      <dgm:prSet presAssocID="{62BA3047-FB09-4CA2-A2F1-78B5F6B9C4FC}" presName="text_2" presStyleLbl="node1" presStyleIdx="1" presStyleCnt="3" custScaleY="8734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A880BC-E35E-4AC6-AA99-7AA8EA17E2C9}" type="pres">
      <dgm:prSet presAssocID="{62BA3047-FB09-4CA2-A2F1-78B5F6B9C4FC}" presName="accent_2" presStyleCnt="0"/>
      <dgm:spPr/>
    </dgm:pt>
    <dgm:pt modelId="{90EADE90-48FA-4A5E-9829-BA3BC423DE00}" type="pres">
      <dgm:prSet presAssocID="{62BA3047-FB09-4CA2-A2F1-78B5F6B9C4FC}" presName="accentRepeatNode" presStyleLbl="solidFgAcc1" presStyleIdx="1" presStyleCnt="3" custScaleX="70512" custScaleY="69878"/>
      <dgm:spPr>
        <a:solidFill>
          <a:srgbClr val="000099"/>
        </a:solidFill>
        <a:ln>
          <a:noFill/>
        </a:ln>
      </dgm:spPr>
    </dgm:pt>
    <dgm:pt modelId="{4B80BDFE-0C23-4F9C-9455-201CC3119869}" type="pres">
      <dgm:prSet presAssocID="{5FA0A9AD-1A62-4EAD-A771-FA4B71C62684}" presName="text_3" presStyleLbl="node1" presStyleIdx="2" presStyleCnt="3" custScaleY="1175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30A078-3549-4A87-BF10-C378010BB4E4}" type="pres">
      <dgm:prSet presAssocID="{5FA0A9AD-1A62-4EAD-A771-FA4B71C62684}" presName="accent_3" presStyleCnt="0"/>
      <dgm:spPr/>
    </dgm:pt>
    <dgm:pt modelId="{F026EF24-9C89-4770-971D-06798EEB8D08}" type="pres">
      <dgm:prSet presAssocID="{5FA0A9AD-1A62-4EAD-A771-FA4B71C62684}" presName="accentRepeatNode" presStyleLbl="solidFgAcc1" presStyleIdx="2" presStyleCnt="3"/>
      <dgm:spPr>
        <a:solidFill>
          <a:srgbClr val="FFE100"/>
        </a:solidFill>
        <a:ln>
          <a:noFill/>
        </a:ln>
      </dgm:spPr>
      <dgm:t>
        <a:bodyPr/>
        <a:lstStyle/>
        <a:p>
          <a:endParaRPr lang="en-US"/>
        </a:p>
      </dgm:t>
    </dgm:pt>
  </dgm:ptLst>
  <dgm:cxnLst>
    <dgm:cxn modelId="{43C20FB4-C699-463A-9F53-E36F7C940395}" srcId="{21BD5A22-8185-44E5-9CB3-777DF82C5E1E}" destId="{62BA3047-FB09-4CA2-A2F1-78B5F6B9C4FC}" srcOrd="1" destOrd="0" parTransId="{7D1B89BE-19E8-49B2-A7A3-E1E987EAD024}" sibTransId="{27D1BC60-C99D-4497-959A-ED0A0BEDF419}"/>
    <dgm:cxn modelId="{DA7CCD71-3EB2-4ED0-8D93-70169EB7545A}" srcId="{21BD5A22-8185-44E5-9CB3-777DF82C5E1E}" destId="{5FA0A9AD-1A62-4EAD-A771-FA4B71C62684}" srcOrd="2" destOrd="0" parTransId="{0BF4AB65-52FA-41CF-846C-DC6D29CCC118}" sibTransId="{42701BFE-BC96-4E8D-9EA6-1265EABC48DD}"/>
    <dgm:cxn modelId="{DD37FFAD-4F29-42EB-B43D-4A045EBD2174}" srcId="{21BD5A22-8185-44E5-9CB3-777DF82C5E1E}" destId="{2A5CD97B-D62C-46A0-BCFE-912ADF897071}" srcOrd="0" destOrd="0" parTransId="{A5DAD664-5951-49BE-88A0-CE1AC54AB32B}" sibTransId="{669072F3-2006-4286-981E-CE767A26F230}"/>
    <dgm:cxn modelId="{575703C5-4623-4CCA-8668-F9B1456DB9FB}" type="presOf" srcId="{669072F3-2006-4286-981E-CE767A26F230}" destId="{88B33855-0B59-42E9-B706-AD91B3876315}" srcOrd="0" destOrd="0" presId="urn:microsoft.com/office/officeart/2008/layout/VerticalCurvedList"/>
    <dgm:cxn modelId="{09225B62-31A8-4276-9A39-EE76C454D7A1}" type="presOf" srcId="{5FA0A9AD-1A62-4EAD-A771-FA4B71C62684}" destId="{4B80BDFE-0C23-4F9C-9455-201CC3119869}" srcOrd="0" destOrd="0" presId="urn:microsoft.com/office/officeart/2008/layout/VerticalCurvedList"/>
    <dgm:cxn modelId="{2A20FA59-A3E7-412C-B234-6B59CAF68DA1}" type="presOf" srcId="{2A5CD97B-D62C-46A0-BCFE-912ADF897071}" destId="{A66CDB63-C7A5-4FAA-8AF2-5BB92B713624}" srcOrd="0" destOrd="0" presId="urn:microsoft.com/office/officeart/2008/layout/VerticalCurvedList"/>
    <dgm:cxn modelId="{625AD717-7384-48AA-8253-E09B21C81283}" type="presOf" srcId="{21BD5A22-8185-44E5-9CB3-777DF82C5E1E}" destId="{04C3C4A8-3FD4-49B2-926E-33CD0FCC408C}" srcOrd="0" destOrd="0" presId="urn:microsoft.com/office/officeart/2008/layout/VerticalCurvedList"/>
    <dgm:cxn modelId="{ED25800E-97F0-4F1D-B1E4-8B7A2965065A}" type="presOf" srcId="{62BA3047-FB09-4CA2-A2F1-78B5F6B9C4FC}" destId="{88EFEB7E-4AFD-415A-8499-7AD0959093EB}" srcOrd="0" destOrd="0" presId="urn:microsoft.com/office/officeart/2008/layout/VerticalCurvedList"/>
    <dgm:cxn modelId="{54E4773E-2DCC-4134-B9AC-3F9628A3FA0D}" type="presParOf" srcId="{04C3C4A8-3FD4-49B2-926E-33CD0FCC408C}" destId="{383BF468-62D9-4346-BD92-86276472569C}" srcOrd="0" destOrd="0" presId="urn:microsoft.com/office/officeart/2008/layout/VerticalCurvedList"/>
    <dgm:cxn modelId="{DEF72251-0009-4AB6-95F4-4359FF03E8B5}" type="presParOf" srcId="{383BF468-62D9-4346-BD92-86276472569C}" destId="{B75194C3-C2BC-48E7-92E7-AA4F68C27AFC}" srcOrd="0" destOrd="0" presId="urn:microsoft.com/office/officeart/2008/layout/VerticalCurvedList"/>
    <dgm:cxn modelId="{20551C74-60C0-47D3-9616-106B3D7E3FCD}" type="presParOf" srcId="{B75194C3-C2BC-48E7-92E7-AA4F68C27AFC}" destId="{207E8394-C466-42C1-A829-51A2C491B317}" srcOrd="0" destOrd="0" presId="urn:microsoft.com/office/officeart/2008/layout/VerticalCurvedList"/>
    <dgm:cxn modelId="{C8651734-2276-41A9-92CD-F49869E54BDD}" type="presParOf" srcId="{B75194C3-C2BC-48E7-92E7-AA4F68C27AFC}" destId="{88B33855-0B59-42E9-B706-AD91B3876315}" srcOrd="1" destOrd="0" presId="urn:microsoft.com/office/officeart/2008/layout/VerticalCurvedList"/>
    <dgm:cxn modelId="{5998F88B-B8B1-4945-B6DF-C04B810AD0E3}" type="presParOf" srcId="{B75194C3-C2BC-48E7-92E7-AA4F68C27AFC}" destId="{0BAFD2D7-67BD-45B5-9384-68D61DF555AF}" srcOrd="2" destOrd="0" presId="urn:microsoft.com/office/officeart/2008/layout/VerticalCurvedList"/>
    <dgm:cxn modelId="{6ACCDDE8-597E-4A35-A27D-0BCB02DF625B}" type="presParOf" srcId="{B75194C3-C2BC-48E7-92E7-AA4F68C27AFC}" destId="{D77395D5-1EC4-4271-AFDD-13C4F74BF63C}" srcOrd="3" destOrd="0" presId="urn:microsoft.com/office/officeart/2008/layout/VerticalCurvedList"/>
    <dgm:cxn modelId="{537931DF-DA36-40EC-A4CB-5B1DA44497BB}" type="presParOf" srcId="{383BF468-62D9-4346-BD92-86276472569C}" destId="{A66CDB63-C7A5-4FAA-8AF2-5BB92B713624}" srcOrd="1" destOrd="0" presId="urn:microsoft.com/office/officeart/2008/layout/VerticalCurvedList"/>
    <dgm:cxn modelId="{CB2DAF93-5FD9-4826-B8FC-8516590D9E13}" type="presParOf" srcId="{383BF468-62D9-4346-BD92-86276472569C}" destId="{444003CA-5E3B-4D68-B9DF-8E7BF683047C}" srcOrd="2" destOrd="0" presId="urn:microsoft.com/office/officeart/2008/layout/VerticalCurvedList"/>
    <dgm:cxn modelId="{60C8A995-2025-4790-A998-8621DDD77B2C}" type="presParOf" srcId="{444003CA-5E3B-4D68-B9DF-8E7BF683047C}" destId="{64167E08-E870-4D56-82AA-FB170206DEF4}" srcOrd="0" destOrd="0" presId="urn:microsoft.com/office/officeart/2008/layout/VerticalCurvedList"/>
    <dgm:cxn modelId="{D6609A7F-BC5F-4B72-B6F1-BFC0BEAF54A7}" type="presParOf" srcId="{383BF468-62D9-4346-BD92-86276472569C}" destId="{88EFEB7E-4AFD-415A-8499-7AD0959093EB}" srcOrd="3" destOrd="0" presId="urn:microsoft.com/office/officeart/2008/layout/VerticalCurvedList"/>
    <dgm:cxn modelId="{938544D6-246C-4C66-8EE8-7962E1FDFB12}" type="presParOf" srcId="{383BF468-62D9-4346-BD92-86276472569C}" destId="{C2A880BC-E35E-4AC6-AA99-7AA8EA17E2C9}" srcOrd="4" destOrd="0" presId="urn:microsoft.com/office/officeart/2008/layout/VerticalCurvedList"/>
    <dgm:cxn modelId="{0ECF741B-CB6E-4577-BADE-DB4D93892B21}" type="presParOf" srcId="{C2A880BC-E35E-4AC6-AA99-7AA8EA17E2C9}" destId="{90EADE90-48FA-4A5E-9829-BA3BC423DE00}" srcOrd="0" destOrd="0" presId="urn:microsoft.com/office/officeart/2008/layout/VerticalCurvedList"/>
    <dgm:cxn modelId="{10F7763E-9554-4432-AFF7-9A74DFC376F4}" type="presParOf" srcId="{383BF468-62D9-4346-BD92-86276472569C}" destId="{4B80BDFE-0C23-4F9C-9455-201CC3119869}" srcOrd="5" destOrd="0" presId="urn:microsoft.com/office/officeart/2008/layout/VerticalCurvedList"/>
    <dgm:cxn modelId="{A1A21D85-5121-45BF-8E33-D29F928A2DF4}" type="presParOf" srcId="{383BF468-62D9-4346-BD92-86276472569C}" destId="{A530A078-3549-4A87-BF10-C378010BB4E4}" srcOrd="6" destOrd="0" presId="urn:microsoft.com/office/officeart/2008/layout/VerticalCurvedList"/>
    <dgm:cxn modelId="{5E7F0EF0-E665-4F0E-84CF-C3F409BCE4A5}" type="presParOf" srcId="{A530A078-3549-4A87-BF10-C378010BB4E4}" destId="{F026EF24-9C89-4770-971D-06798EEB8D0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1BD5A22-8185-44E5-9CB3-777DF82C5E1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A5CD97B-D62C-46A0-BCFE-912ADF897071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GB" sz="16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olid foundation of Agile values, principles and practices at the team level</a:t>
          </a:r>
          <a:endParaRPr lang="cs-CZ" sz="1600" u="none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cs-CZ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cs-CZ" sz="1400" u="none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LinkedIn</a:t>
          </a:r>
          <a:r>
            <a:rPr lang="cs-CZ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cs-CZ" sz="1400" u="none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etromat</a:t>
          </a:r>
          <a:r>
            <a:rPr lang="cs-CZ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case </a:t>
          </a:r>
          <a:r>
            <a:rPr lang="cs-CZ" sz="1400" u="none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tudies</a:t>
          </a:r>
          <a:r>
            <a:rPr lang="cs-CZ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cs-CZ" sz="1400" u="none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nferences</a:t>
          </a:r>
          <a:r>
            <a:rPr lang="cs-CZ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…</a:t>
          </a:r>
          <a:endParaRPr lang="en-GB" sz="1400" u="none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en-GB" sz="1400" u="none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Finding </a:t>
          </a:r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he right scaling pattern</a:t>
          </a:r>
        </a:p>
      </dgm:t>
    </dgm:pt>
    <dgm:pt modelId="{A5DAD664-5951-49BE-88A0-CE1AC54AB32B}" type="parTrans" cxnId="{DD37FFAD-4F29-42EB-B43D-4A045EBD2174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9072F3-2006-4286-981E-CE767A26F230}" type="sibTrans" cxnId="{DD37FFAD-4F29-42EB-B43D-4A045EBD2174}">
      <dgm:prSet/>
      <dgm:spPr>
        <a:ln>
          <a:solidFill>
            <a:srgbClr val="000099"/>
          </a:solidFill>
        </a:ln>
      </dgm:spPr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B103AF3-0EB0-4AD8-B761-ABB1B80D50F6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ergy:</a:t>
          </a:r>
        </a:p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Uses Less</a:t>
          </a:r>
          <a:r>
            <a:rPr lang="cs-CZ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cs-CZ" sz="14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actices</a:t>
          </a:r>
          <a:endParaRPr lang="en-GB" sz="14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Initial workshop with stakeholders</a:t>
          </a:r>
        </a:p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Initial workshop with teams (</a:t>
          </a:r>
          <a:r>
            <a:rPr lang="en-GB" sz="14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indmap</a:t>
          </a:r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of artefacts)</a:t>
          </a:r>
        </a:p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Trainings</a:t>
          </a:r>
          <a:endParaRPr lang="en-GB" sz="14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877AAFC-037A-4681-88FC-292CF54852CD}" type="parTrans" cxnId="{5D1A8B15-9E9E-46BC-AE55-CDD8A1A1021E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F99E287-629C-4E7E-944A-295802F85750}" type="sibTrans" cxnId="{5D1A8B15-9E9E-46BC-AE55-CDD8A1A1021E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453242-5814-4D53-9B61-690739518590}">
      <dgm:prSet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GB" sz="16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rummaster</a:t>
          </a:r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role</a:t>
          </a:r>
        </a:p>
        <a:p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Recommended to have dedicated fulltime role</a:t>
          </a:r>
        </a:p>
        <a:p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Up to three teams</a:t>
          </a:r>
        </a:p>
      </dgm:t>
    </dgm:pt>
    <dgm:pt modelId="{AEFCD35D-B8B4-4AA5-970A-12A14CA1261C}" type="sibTrans" cxnId="{35637EC7-607F-4614-A8BF-4FA3B9757E18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8F0E36F-2074-4FD7-9E58-FE8F30A12600}" type="parTrans" cxnId="{35637EC7-607F-4614-A8BF-4FA3B9757E18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4C3C4A8-3FD4-49B2-926E-33CD0FCC408C}" type="pres">
      <dgm:prSet presAssocID="{21BD5A22-8185-44E5-9CB3-777DF82C5E1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de-DE"/>
        </a:p>
      </dgm:t>
    </dgm:pt>
    <dgm:pt modelId="{383BF468-62D9-4346-BD92-86276472569C}" type="pres">
      <dgm:prSet presAssocID="{21BD5A22-8185-44E5-9CB3-777DF82C5E1E}" presName="Name1" presStyleCnt="0"/>
      <dgm:spPr/>
    </dgm:pt>
    <dgm:pt modelId="{B75194C3-C2BC-48E7-92E7-AA4F68C27AFC}" type="pres">
      <dgm:prSet presAssocID="{21BD5A22-8185-44E5-9CB3-777DF82C5E1E}" presName="cycle" presStyleCnt="0"/>
      <dgm:spPr/>
    </dgm:pt>
    <dgm:pt modelId="{207E8394-C466-42C1-A829-51A2C491B317}" type="pres">
      <dgm:prSet presAssocID="{21BD5A22-8185-44E5-9CB3-777DF82C5E1E}" presName="srcNode" presStyleLbl="node1" presStyleIdx="0" presStyleCnt="3"/>
      <dgm:spPr/>
    </dgm:pt>
    <dgm:pt modelId="{88B33855-0B59-42E9-B706-AD91B3876315}" type="pres">
      <dgm:prSet presAssocID="{21BD5A22-8185-44E5-9CB3-777DF82C5E1E}" presName="conn" presStyleLbl="parChTrans1D2" presStyleIdx="0" presStyleCnt="1"/>
      <dgm:spPr/>
      <dgm:t>
        <a:bodyPr/>
        <a:lstStyle/>
        <a:p>
          <a:endParaRPr lang="de-DE"/>
        </a:p>
      </dgm:t>
    </dgm:pt>
    <dgm:pt modelId="{0BAFD2D7-67BD-45B5-9384-68D61DF555AF}" type="pres">
      <dgm:prSet presAssocID="{21BD5A22-8185-44E5-9CB3-777DF82C5E1E}" presName="extraNode" presStyleLbl="node1" presStyleIdx="0" presStyleCnt="3"/>
      <dgm:spPr/>
    </dgm:pt>
    <dgm:pt modelId="{D77395D5-1EC4-4271-AFDD-13C4F74BF63C}" type="pres">
      <dgm:prSet presAssocID="{21BD5A22-8185-44E5-9CB3-777DF82C5E1E}" presName="dstNode" presStyleLbl="node1" presStyleIdx="0" presStyleCnt="3"/>
      <dgm:spPr/>
    </dgm:pt>
    <dgm:pt modelId="{A66CDB63-C7A5-4FAA-8AF2-5BB92B713624}" type="pres">
      <dgm:prSet presAssocID="{2A5CD97B-D62C-46A0-BCFE-912ADF897071}" presName="text_1" presStyleLbl="node1" presStyleIdx="0" presStyleCnt="3" custScaleY="121061" custLinFactNeighborX="-728" custLinFactNeighborY="-1566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4003CA-5E3B-4D68-B9DF-8E7BF683047C}" type="pres">
      <dgm:prSet presAssocID="{2A5CD97B-D62C-46A0-BCFE-912ADF897071}" presName="accent_1" presStyleCnt="0"/>
      <dgm:spPr/>
    </dgm:pt>
    <dgm:pt modelId="{64167E08-E870-4D56-82AA-FB170206DEF4}" type="pres">
      <dgm:prSet presAssocID="{2A5CD97B-D62C-46A0-BCFE-912ADF897071}" presName="accentRepeatNode" presStyleLbl="solidFgAcc1" presStyleIdx="0" presStyleCnt="3" custLinFactNeighborX="84" custLinFactNeighborY="-10952"/>
      <dgm:spPr>
        <a:solidFill>
          <a:srgbClr val="000099"/>
        </a:solidFill>
        <a:ln>
          <a:noFill/>
        </a:ln>
      </dgm:spPr>
    </dgm:pt>
    <dgm:pt modelId="{72B7FFB8-43F0-458A-82B2-3CF38E9B92CA}" type="pres">
      <dgm:prSet presAssocID="{77453242-5814-4D53-9B61-690739518590}" presName="text_2" presStyleLbl="node1" presStyleIdx="1" presStyleCnt="3" custScaleX="102134" custScaleY="109061" custLinFactNeighborX="-2259" custLinFactNeighborY="128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A231AF-FC2F-4F37-9AAD-9B022CE82CAD}" type="pres">
      <dgm:prSet presAssocID="{77453242-5814-4D53-9B61-690739518590}" presName="accent_2" presStyleCnt="0"/>
      <dgm:spPr/>
    </dgm:pt>
    <dgm:pt modelId="{88F512CA-81B4-4B48-A8AF-5F8355AC8947}" type="pres">
      <dgm:prSet presAssocID="{77453242-5814-4D53-9B61-690739518590}" presName="accentRepeatNode" presStyleLbl="solidFgAcc1" presStyleIdx="1" presStyleCnt="3" custScaleX="94555" custScaleY="91405" custLinFactNeighborX="-12486" custLinFactNeighborY="8236"/>
      <dgm:spPr>
        <a:solidFill>
          <a:srgbClr val="000099"/>
        </a:solidFill>
        <a:ln>
          <a:noFill/>
        </a:ln>
      </dgm:spPr>
    </dgm:pt>
    <dgm:pt modelId="{38F50535-79D1-43D3-BBA7-11981454AFD5}" type="pres">
      <dgm:prSet presAssocID="{9B103AF3-0EB0-4AD8-B761-ABB1B80D50F6}" presName="text_3" presStyleLbl="node1" presStyleIdx="2" presStyleCnt="3" custScaleX="100631" custScaleY="117388" custLinFactNeighborX="-788" custLinFactNeighborY="1579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FB4C86-A559-4FC4-8CA7-360520442F10}" type="pres">
      <dgm:prSet presAssocID="{9B103AF3-0EB0-4AD8-B761-ABB1B80D50F6}" presName="accent_3" presStyleCnt="0"/>
      <dgm:spPr/>
    </dgm:pt>
    <dgm:pt modelId="{E97E9402-42EB-4F29-AB12-4BAC2E65E606}" type="pres">
      <dgm:prSet presAssocID="{9B103AF3-0EB0-4AD8-B761-ABB1B80D50F6}" presName="accentRepeatNode" presStyleLbl="solidFgAcc1" presStyleIdx="2" presStyleCnt="3" custScaleX="106288" custScaleY="100000" custLinFactNeighborX="-7760" custLinFactNeighborY="10907"/>
      <dgm:spPr>
        <a:solidFill>
          <a:srgbClr val="FFE100"/>
        </a:solidFill>
        <a:ln>
          <a:noFill/>
        </a:ln>
      </dgm:spPr>
      <dgm:t>
        <a:bodyPr/>
        <a:lstStyle/>
        <a:p>
          <a:endParaRPr lang="en-US"/>
        </a:p>
      </dgm:t>
    </dgm:pt>
  </dgm:ptLst>
  <dgm:cxnLst>
    <dgm:cxn modelId="{35637EC7-607F-4614-A8BF-4FA3B9757E18}" srcId="{21BD5A22-8185-44E5-9CB3-777DF82C5E1E}" destId="{77453242-5814-4D53-9B61-690739518590}" srcOrd="1" destOrd="0" parTransId="{F8F0E36F-2074-4FD7-9E58-FE8F30A12600}" sibTransId="{AEFCD35D-B8B4-4AA5-970A-12A14CA1261C}"/>
    <dgm:cxn modelId="{5D1A8B15-9E9E-46BC-AE55-CDD8A1A1021E}" srcId="{21BD5A22-8185-44E5-9CB3-777DF82C5E1E}" destId="{9B103AF3-0EB0-4AD8-B761-ABB1B80D50F6}" srcOrd="2" destOrd="0" parTransId="{F877AAFC-037A-4681-88FC-292CF54852CD}" sibTransId="{EF99E287-629C-4E7E-944A-295802F85750}"/>
    <dgm:cxn modelId="{DD37FFAD-4F29-42EB-B43D-4A045EBD2174}" srcId="{21BD5A22-8185-44E5-9CB3-777DF82C5E1E}" destId="{2A5CD97B-D62C-46A0-BCFE-912ADF897071}" srcOrd="0" destOrd="0" parTransId="{A5DAD664-5951-49BE-88A0-CE1AC54AB32B}" sibTransId="{669072F3-2006-4286-981E-CE767A26F230}"/>
    <dgm:cxn modelId="{575703C5-4623-4CCA-8668-F9B1456DB9FB}" type="presOf" srcId="{669072F3-2006-4286-981E-CE767A26F230}" destId="{88B33855-0B59-42E9-B706-AD91B3876315}" srcOrd="0" destOrd="0" presId="urn:microsoft.com/office/officeart/2008/layout/VerticalCurvedList"/>
    <dgm:cxn modelId="{2A20FA59-A3E7-412C-B234-6B59CAF68DA1}" type="presOf" srcId="{2A5CD97B-D62C-46A0-BCFE-912ADF897071}" destId="{A66CDB63-C7A5-4FAA-8AF2-5BB92B713624}" srcOrd="0" destOrd="0" presId="urn:microsoft.com/office/officeart/2008/layout/VerticalCurvedList"/>
    <dgm:cxn modelId="{625AD717-7384-48AA-8253-E09B21C81283}" type="presOf" srcId="{21BD5A22-8185-44E5-9CB3-777DF82C5E1E}" destId="{04C3C4A8-3FD4-49B2-926E-33CD0FCC408C}" srcOrd="0" destOrd="0" presId="urn:microsoft.com/office/officeart/2008/layout/VerticalCurvedList"/>
    <dgm:cxn modelId="{6574095C-8AF8-4BAF-8DBA-DF343124DF84}" type="presOf" srcId="{77453242-5814-4D53-9B61-690739518590}" destId="{72B7FFB8-43F0-458A-82B2-3CF38E9B92CA}" srcOrd="0" destOrd="0" presId="urn:microsoft.com/office/officeart/2008/layout/VerticalCurvedList"/>
    <dgm:cxn modelId="{1D1762C5-16A0-45A9-BC14-5A319CFCF392}" type="presOf" srcId="{9B103AF3-0EB0-4AD8-B761-ABB1B80D50F6}" destId="{38F50535-79D1-43D3-BBA7-11981454AFD5}" srcOrd="0" destOrd="0" presId="urn:microsoft.com/office/officeart/2008/layout/VerticalCurvedList"/>
    <dgm:cxn modelId="{54E4773E-2DCC-4134-B9AC-3F9628A3FA0D}" type="presParOf" srcId="{04C3C4A8-3FD4-49B2-926E-33CD0FCC408C}" destId="{383BF468-62D9-4346-BD92-86276472569C}" srcOrd="0" destOrd="0" presId="urn:microsoft.com/office/officeart/2008/layout/VerticalCurvedList"/>
    <dgm:cxn modelId="{DEF72251-0009-4AB6-95F4-4359FF03E8B5}" type="presParOf" srcId="{383BF468-62D9-4346-BD92-86276472569C}" destId="{B75194C3-C2BC-48E7-92E7-AA4F68C27AFC}" srcOrd="0" destOrd="0" presId="urn:microsoft.com/office/officeart/2008/layout/VerticalCurvedList"/>
    <dgm:cxn modelId="{20551C74-60C0-47D3-9616-106B3D7E3FCD}" type="presParOf" srcId="{B75194C3-C2BC-48E7-92E7-AA4F68C27AFC}" destId="{207E8394-C466-42C1-A829-51A2C491B317}" srcOrd="0" destOrd="0" presId="urn:microsoft.com/office/officeart/2008/layout/VerticalCurvedList"/>
    <dgm:cxn modelId="{C8651734-2276-41A9-92CD-F49869E54BDD}" type="presParOf" srcId="{B75194C3-C2BC-48E7-92E7-AA4F68C27AFC}" destId="{88B33855-0B59-42E9-B706-AD91B3876315}" srcOrd="1" destOrd="0" presId="urn:microsoft.com/office/officeart/2008/layout/VerticalCurvedList"/>
    <dgm:cxn modelId="{5998F88B-B8B1-4945-B6DF-C04B810AD0E3}" type="presParOf" srcId="{B75194C3-C2BC-48E7-92E7-AA4F68C27AFC}" destId="{0BAFD2D7-67BD-45B5-9384-68D61DF555AF}" srcOrd="2" destOrd="0" presId="urn:microsoft.com/office/officeart/2008/layout/VerticalCurvedList"/>
    <dgm:cxn modelId="{6ACCDDE8-597E-4A35-A27D-0BCB02DF625B}" type="presParOf" srcId="{B75194C3-C2BC-48E7-92E7-AA4F68C27AFC}" destId="{D77395D5-1EC4-4271-AFDD-13C4F74BF63C}" srcOrd="3" destOrd="0" presId="urn:microsoft.com/office/officeart/2008/layout/VerticalCurvedList"/>
    <dgm:cxn modelId="{537931DF-DA36-40EC-A4CB-5B1DA44497BB}" type="presParOf" srcId="{383BF468-62D9-4346-BD92-86276472569C}" destId="{A66CDB63-C7A5-4FAA-8AF2-5BB92B713624}" srcOrd="1" destOrd="0" presId="urn:microsoft.com/office/officeart/2008/layout/VerticalCurvedList"/>
    <dgm:cxn modelId="{CB2DAF93-5FD9-4826-B8FC-8516590D9E13}" type="presParOf" srcId="{383BF468-62D9-4346-BD92-86276472569C}" destId="{444003CA-5E3B-4D68-B9DF-8E7BF683047C}" srcOrd="2" destOrd="0" presId="urn:microsoft.com/office/officeart/2008/layout/VerticalCurvedList"/>
    <dgm:cxn modelId="{60C8A995-2025-4790-A998-8621DDD77B2C}" type="presParOf" srcId="{444003CA-5E3B-4D68-B9DF-8E7BF683047C}" destId="{64167E08-E870-4D56-82AA-FB170206DEF4}" srcOrd="0" destOrd="0" presId="urn:microsoft.com/office/officeart/2008/layout/VerticalCurvedList"/>
    <dgm:cxn modelId="{0338CB69-398B-4D6C-BA37-E49371B3A9A7}" type="presParOf" srcId="{383BF468-62D9-4346-BD92-86276472569C}" destId="{72B7FFB8-43F0-458A-82B2-3CF38E9B92CA}" srcOrd="3" destOrd="0" presId="urn:microsoft.com/office/officeart/2008/layout/VerticalCurvedList"/>
    <dgm:cxn modelId="{9519E619-2A75-47A7-9365-B0D2917ED05C}" type="presParOf" srcId="{383BF468-62D9-4346-BD92-86276472569C}" destId="{A9A231AF-FC2F-4F37-9AAD-9B022CE82CAD}" srcOrd="4" destOrd="0" presId="urn:microsoft.com/office/officeart/2008/layout/VerticalCurvedList"/>
    <dgm:cxn modelId="{9C7A26D1-49CC-4959-8028-41D7173BEC59}" type="presParOf" srcId="{A9A231AF-FC2F-4F37-9AAD-9B022CE82CAD}" destId="{88F512CA-81B4-4B48-A8AF-5F8355AC8947}" srcOrd="0" destOrd="0" presId="urn:microsoft.com/office/officeart/2008/layout/VerticalCurvedList"/>
    <dgm:cxn modelId="{861BB276-CD1F-49A7-9164-15889A5FA4FE}" type="presParOf" srcId="{383BF468-62D9-4346-BD92-86276472569C}" destId="{38F50535-79D1-43D3-BBA7-11981454AFD5}" srcOrd="5" destOrd="0" presId="urn:microsoft.com/office/officeart/2008/layout/VerticalCurvedList"/>
    <dgm:cxn modelId="{4DA4B08C-606A-4557-9FC6-CB8DDE64DC1A}" type="presParOf" srcId="{383BF468-62D9-4346-BD92-86276472569C}" destId="{0DFB4C86-A559-4FC4-8CA7-360520442F10}" srcOrd="6" destOrd="0" presId="urn:microsoft.com/office/officeart/2008/layout/VerticalCurvedList"/>
    <dgm:cxn modelId="{D1B9D7C7-217D-4E17-B84F-DBB2B7E9EEA6}" type="presParOf" srcId="{0DFB4C86-A559-4FC4-8CA7-360520442F10}" destId="{E97E9402-42EB-4F29-AB12-4BAC2E65E60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1BD5A22-8185-44E5-9CB3-777DF82C5E1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77453242-5814-4D53-9B61-690739518590}">
      <dgm:prSet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odern SW engineering best practices</a:t>
          </a:r>
          <a:endParaRPr lang="cs-CZ" sz="16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cs-CZ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utomation</a:t>
          </a:r>
          <a:endParaRPr lang="cs-CZ" sz="14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cs-CZ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en-GB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I</a:t>
          </a:r>
          <a:r>
            <a:rPr lang="cs-CZ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/CD</a:t>
          </a:r>
        </a:p>
        <a:p>
          <a:r>
            <a:rPr lang="cs-CZ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M</a:t>
          </a:r>
          <a:r>
            <a:rPr lang="en-GB" sz="14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onitoring</a:t>
          </a:r>
          <a:r>
            <a:rPr lang="cs-CZ" sz="14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…</a:t>
          </a:r>
        </a:p>
      </dgm:t>
    </dgm:pt>
    <dgm:pt modelId="{F8F0E36F-2074-4FD7-9E58-FE8F30A12600}" type="parTrans" cxnId="{35637EC7-607F-4614-A8BF-4FA3B9757E18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EFCD35D-B8B4-4AA5-970A-12A14CA1261C}" type="sibTrans" cxnId="{35637EC7-607F-4614-A8BF-4FA3B9757E18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B103AF3-0EB0-4AD8-B761-ABB1B80D50F6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vironments, tools </a:t>
          </a:r>
          <a:r>
            <a:rPr lang="cs-CZ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… </a:t>
          </a:r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pporting Agile development</a:t>
          </a:r>
          <a:endParaRPr lang="en-GB" sz="16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877AAFC-037A-4681-88FC-292CF54852CD}" type="parTrans" cxnId="{5D1A8B15-9E9E-46BC-AE55-CDD8A1A1021E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F99E287-629C-4E7E-944A-295802F85750}" type="sibTrans" cxnId="{5D1A8B15-9E9E-46BC-AE55-CDD8A1A1021E}">
      <dgm:prSet/>
      <dgm:spPr/>
      <dgm:t>
        <a:bodyPr/>
        <a:lstStyle/>
        <a:p>
          <a:endParaRPr lang="en-GB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19B1DE-834A-48EB-90F4-CF77690E8552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ergy:</a:t>
          </a:r>
        </a:p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QA checks (Sonar)</a:t>
          </a:r>
        </a:p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CI/CD Jenkins</a:t>
          </a:r>
        </a:p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AWS testing environments…</a:t>
          </a:r>
        </a:p>
        <a:p>
          <a:pPr marL="0" indent="0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en-GB" sz="16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Focus on automation (testing, deployment…)</a:t>
          </a:r>
          <a:endParaRPr lang="en-GB" sz="16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A0759DA-9F73-4EAD-A1AE-3A9E4B7D4475}" type="parTrans" cxnId="{1D091706-E5CC-40D3-899F-A4498D256BC3}">
      <dgm:prSet/>
      <dgm:spPr/>
      <dgm:t>
        <a:bodyPr/>
        <a:lstStyle/>
        <a:p>
          <a:endParaRPr lang="en-US"/>
        </a:p>
      </dgm:t>
    </dgm:pt>
    <dgm:pt modelId="{B291F0C6-A1DD-480E-9974-1FFD8B331A6F}" type="sibTrans" cxnId="{1D091706-E5CC-40D3-899F-A4498D256BC3}">
      <dgm:prSet/>
      <dgm:spPr/>
      <dgm:t>
        <a:bodyPr/>
        <a:lstStyle/>
        <a:p>
          <a:endParaRPr lang="en-US"/>
        </a:p>
      </dgm:t>
    </dgm:pt>
    <dgm:pt modelId="{04C3C4A8-3FD4-49B2-926E-33CD0FCC408C}" type="pres">
      <dgm:prSet presAssocID="{21BD5A22-8185-44E5-9CB3-777DF82C5E1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de-DE"/>
        </a:p>
      </dgm:t>
    </dgm:pt>
    <dgm:pt modelId="{383BF468-62D9-4346-BD92-86276472569C}" type="pres">
      <dgm:prSet presAssocID="{21BD5A22-8185-44E5-9CB3-777DF82C5E1E}" presName="Name1" presStyleCnt="0"/>
      <dgm:spPr/>
    </dgm:pt>
    <dgm:pt modelId="{B75194C3-C2BC-48E7-92E7-AA4F68C27AFC}" type="pres">
      <dgm:prSet presAssocID="{21BD5A22-8185-44E5-9CB3-777DF82C5E1E}" presName="cycle" presStyleCnt="0"/>
      <dgm:spPr/>
    </dgm:pt>
    <dgm:pt modelId="{207E8394-C466-42C1-A829-51A2C491B317}" type="pres">
      <dgm:prSet presAssocID="{21BD5A22-8185-44E5-9CB3-777DF82C5E1E}" presName="srcNode" presStyleLbl="node1" presStyleIdx="0" presStyleCnt="3"/>
      <dgm:spPr/>
    </dgm:pt>
    <dgm:pt modelId="{88B33855-0B59-42E9-B706-AD91B3876315}" type="pres">
      <dgm:prSet presAssocID="{21BD5A22-8185-44E5-9CB3-777DF82C5E1E}" presName="conn" presStyleLbl="parChTrans1D2" presStyleIdx="0" presStyleCnt="1"/>
      <dgm:spPr/>
      <dgm:t>
        <a:bodyPr/>
        <a:lstStyle/>
        <a:p>
          <a:endParaRPr lang="de-DE"/>
        </a:p>
      </dgm:t>
    </dgm:pt>
    <dgm:pt modelId="{0BAFD2D7-67BD-45B5-9384-68D61DF555AF}" type="pres">
      <dgm:prSet presAssocID="{21BD5A22-8185-44E5-9CB3-777DF82C5E1E}" presName="extraNode" presStyleLbl="node1" presStyleIdx="0" presStyleCnt="3"/>
      <dgm:spPr/>
    </dgm:pt>
    <dgm:pt modelId="{D77395D5-1EC4-4271-AFDD-13C4F74BF63C}" type="pres">
      <dgm:prSet presAssocID="{21BD5A22-8185-44E5-9CB3-777DF82C5E1E}" presName="dstNode" presStyleLbl="node1" presStyleIdx="0" presStyleCnt="3"/>
      <dgm:spPr/>
    </dgm:pt>
    <dgm:pt modelId="{F9F4373B-AFED-4E80-B493-0D2FDA6CEF18}" type="pres">
      <dgm:prSet presAssocID="{77453242-5814-4D53-9B61-690739518590}" presName="text_1" presStyleLbl="node1" presStyleIdx="0" presStyleCnt="3" custScaleY="1206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7BDCF6E-29D7-4CA7-B02B-2431D9E2E29A}" type="pres">
      <dgm:prSet presAssocID="{77453242-5814-4D53-9B61-690739518590}" presName="accent_1" presStyleCnt="0"/>
      <dgm:spPr/>
    </dgm:pt>
    <dgm:pt modelId="{88F512CA-81B4-4B48-A8AF-5F8355AC8947}" type="pres">
      <dgm:prSet presAssocID="{77453242-5814-4D53-9B61-690739518590}" presName="accentRepeatNode" presStyleLbl="solidFgAcc1" presStyleIdx="0" presStyleCnt="3" custScaleX="102189" custScaleY="96511"/>
      <dgm:spPr>
        <a:solidFill>
          <a:srgbClr val="000099"/>
        </a:solidFill>
        <a:ln>
          <a:noFill/>
        </a:ln>
      </dgm:spPr>
    </dgm:pt>
    <dgm:pt modelId="{662A42CD-CBDF-4113-9A5F-A49933114343}" type="pres">
      <dgm:prSet presAssocID="{9B103AF3-0EB0-4AD8-B761-ABB1B80D50F6}" presName="text_2" presStyleLbl="node1" presStyleIdx="1" presStyleCnt="3" custScaleY="872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98B6FF-1F0C-45C5-A91C-04551F097CD4}" type="pres">
      <dgm:prSet presAssocID="{9B103AF3-0EB0-4AD8-B761-ABB1B80D50F6}" presName="accent_2" presStyleCnt="0"/>
      <dgm:spPr/>
    </dgm:pt>
    <dgm:pt modelId="{E97E9402-42EB-4F29-AB12-4BAC2E65E606}" type="pres">
      <dgm:prSet presAssocID="{9B103AF3-0EB0-4AD8-B761-ABB1B80D50F6}" presName="accentRepeatNode" presStyleLbl="solidFgAcc1" presStyleIdx="1" presStyleCnt="3" custScaleX="87818" custScaleY="79945" custLinFactNeighborX="1825" custLinFactNeighborY="-1315"/>
      <dgm:spPr>
        <a:solidFill>
          <a:srgbClr val="000099"/>
        </a:solidFill>
        <a:ln>
          <a:noFill/>
        </a:ln>
      </dgm:spPr>
    </dgm:pt>
    <dgm:pt modelId="{F71058B3-7ADF-4CD3-A39D-10A73FC00B73}" type="pres">
      <dgm:prSet presAssocID="{4B19B1DE-834A-48EB-90F4-CF77690E8552}" presName="text_3" presStyleLbl="node1" presStyleIdx="2" presStyleCnt="3" custScaleY="15226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3A102E-B23F-4A3D-A6F4-464A589322F7}" type="pres">
      <dgm:prSet presAssocID="{4B19B1DE-834A-48EB-90F4-CF77690E8552}" presName="accent_3" presStyleCnt="0"/>
      <dgm:spPr/>
    </dgm:pt>
    <dgm:pt modelId="{0A4DEDDB-5C5C-4D82-9D5A-1A8BFF95BF98}" type="pres">
      <dgm:prSet presAssocID="{4B19B1DE-834A-48EB-90F4-CF77690E8552}" presName="accentRepeatNode" presStyleLbl="solidFgAcc1" presStyleIdx="2" presStyleCnt="3" custScaleX="127313" custScaleY="121814"/>
      <dgm:spPr>
        <a:solidFill>
          <a:srgbClr val="FFE100"/>
        </a:solidFill>
        <a:ln>
          <a:noFill/>
        </a:ln>
      </dgm:spPr>
      <dgm:t>
        <a:bodyPr/>
        <a:lstStyle/>
        <a:p>
          <a:endParaRPr lang="en-US"/>
        </a:p>
      </dgm:t>
    </dgm:pt>
  </dgm:ptLst>
  <dgm:cxnLst>
    <dgm:cxn modelId="{35637EC7-607F-4614-A8BF-4FA3B9757E18}" srcId="{21BD5A22-8185-44E5-9CB3-777DF82C5E1E}" destId="{77453242-5814-4D53-9B61-690739518590}" srcOrd="0" destOrd="0" parTransId="{F8F0E36F-2074-4FD7-9E58-FE8F30A12600}" sibTransId="{AEFCD35D-B8B4-4AA5-970A-12A14CA1261C}"/>
    <dgm:cxn modelId="{E5F62064-D0E6-4EE0-ABBF-48F8C3DCF842}" type="presOf" srcId="{4B19B1DE-834A-48EB-90F4-CF77690E8552}" destId="{F71058B3-7ADF-4CD3-A39D-10A73FC00B73}" srcOrd="0" destOrd="0" presId="urn:microsoft.com/office/officeart/2008/layout/VerticalCurvedList"/>
    <dgm:cxn modelId="{5D1A8B15-9E9E-46BC-AE55-CDD8A1A1021E}" srcId="{21BD5A22-8185-44E5-9CB3-777DF82C5E1E}" destId="{9B103AF3-0EB0-4AD8-B761-ABB1B80D50F6}" srcOrd="1" destOrd="0" parTransId="{F877AAFC-037A-4681-88FC-292CF54852CD}" sibTransId="{EF99E287-629C-4E7E-944A-295802F85750}"/>
    <dgm:cxn modelId="{1D091706-E5CC-40D3-899F-A4498D256BC3}" srcId="{21BD5A22-8185-44E5-9CB3-777DF82C5E1E}" destId="{4B19B1DE-834A-48EB-90F4-CF77690E8552}" srcOrd="2" destOrd="0" parTransId="{BA0759DA-9F73-4EAD-A1AE-3A9E4B7D4475}" sibTransId="{B291F0C6-A1DD-480E-9974-1FFD8B331A6F}"/>
    <dgm:cxn modelId="{5CCFD816-EF5F-4718-A3BF-16441354DA44}" type="presOf" srcId="{9B103AF3-0EB0-4AD8-B761-ABB1B80D50F6}" destId="{662A42CD-CBDF-4113-9A5F-A49933114343}" srcOrd="0" destOrd="0" presId="urn:microsoft.com/office/officeart/2008/layout/VerticalCurvedList"/>
    <dgm:cxn modelId="{8ED3ADED-7C02-4A60-BCD5-E0D543847A25}" type="presOf" srcId="{77453242-5814-4D53-9B61-690739518590}" destId="{F9F4373B-AFED-4E80-B493-0D2FDA6CEF18}" srcOrd="0" destOrd="0" presId="urn:microsoft.com/office/officeart/2008/layout/VerticalCurvedList"/>
    <dgm:cxn modelId="{625AD717-7384-48AA-8253-E09B21C81283}" type="presOf" srcId="{21BD5A22-8185-44E5-9CB3-777DF82C5E1E}" destId="{04C3C4A8-3FD4-49B2-926E-33CD0FCC408C}" srcOrd="0" destOrd="0" presId="urn:microsoft.com/office/officeart/2008/layout/VerticalCurvedList"/>
    <dgm:cxn modelId="{38CC20A8-EFA4-486F-AC9E-1153D466F79A}" type="presOf" srcId="{AEFCD35D-B8B4-4AA5-970A-12A14CA1261C}" destId="{88B33855-0B59-42E9-B706-AD91B3876315}" srcOrd="0" destOrd="0" presId="urn:microsoft.com/office/officeart/2008/layout/VerticalCurvedList"/>
    <dgm:cxn modelId="{54E4773E-2DCC-4134-B9AC-3F9628A3FA0D}" type="presParOf" srcId="{04C3C4A8-3FD4-49B2-926E-33CD0FCC408C}" destId="{383BF468-62D9-4346-BD92-86276472569C}" srcOrd="0" destOrd="0" presId="urn:microsoft.com/office/officeart/2008/layout/VerticalCurvedList"/>
    <dgm:cxn modelId="{DEF72251-0009-4AB6-95F4-4359FF03E8B5}" type="presParOf" srcId="{383BF468-62D9-4346-BD92-86276472569C}" destId="{B75194C3-C2BC-48E7-92E7-AA4F68C27AFC}" srcOrd="0" destOrd="0" presId="urn:microsoft.com/office/officeart/2008/layout/VerticalCurvedList"/>
    <dgm:cxn modelId="{20551C74-60C0-47D3-9616-106B3D7E3FCD}" type="presParOf" srcId="{B75194C3-C2BC-48E7-92E7-AA4F68C27AFC}" destId="{207E8394-C466-42C1-A829-51A2C491B317}" srcOrd="0" destOrd="0" presId="urn:microsoft.com/office/officeart/2008/layout/VerticalCurvedList"/>
    <dgm:cxn modelId="{C8651734-2276-41A9-92CD-F49869E54BDD}" type="presParOf" srcId="{B75194C3-C2BC-48E7-92E7-AA4F68C27AFC}" destId="{88B33855-0B59-42E9-B706-AD91B3876315}" srcOrd="1" destOrd="0" presId="urn:microsoft.com/office/officeart/2008/layout/VerticalCurvedList"/>
    <dgm:cxn modelId="{5998F88B-B8B1-4945-B6DF-C04B810AD0E3}" type="presParOf" srcId="{B75194C3-C2BC-48E7-92E7-AA4F68C27AFC}" destId="{0BAFD2D7-67BD-45B5-9384-68D61DF555AF}" srcOrd="2" destOrd="0" presId="urn:microsoft.com/office/officeart/2008/layout/VerticalCurvedList"/>
    <dgm:cxn modelId="{6ACCDDE8-597E-4A35-A27D-0BCB02DF625B}" type="presParOf" srcId="{B75194C3-C2BC-48E7-92E7-AA4F68C27AFC}" destId="{D77395D5-1EC4-4271-AFDD-13C4F74BF63C}" srcOrd="3" destOrd="0" presId="urn:microsoft.com/office/officeart/2008/layout/VerticalCurvedList"/>
    <dgm:cxn modelId="{442CAC20-A39E-4F73-8776-D1F6A06C9DCE}" type="presParOf" srcId="{383BF468-62D9-4346-BD92-86276472569C}" destId="{F9F4373B-AFED-4E80-B493-0D2FDA6CEF18}" srcOrd="1" destOrd="0" presId="urn:microsoft.com/office/officeart/2008/layout/VerticalCurvedList"/>
    <dgm:cxn modelId="{497DF837-6413-469E-8DFC-74C387DFBFCB}" type="presParOf" srcId="{383BF468-62D9-4346-BD92-86276472569C}" destId="{27BDCF6E-29D7-4CA7-B02B-2431D9E2E29A}" srcOrd="2" destOrd="0" presId="urn:microsoft.com/office/officeart/2008/layout/VerticalCurvedList"/>
    <dgm:cxn modelId="{257E5691-646B-4426-9623-08C6BA355493}" type="presParOf" srcId="{27BDCF6E-29D7-4CA7-B02B-2431D9E2E29A}" destId="{88F512CA-81B4-4B48-A8AF-5F8355AC8947}" srcOrd="0" destOrd="0" presId="urn:microsoft.com/office/officeart/2008/layout/VerticalCurvedList"/>
    <dgm:cxn modelId="{6BAC3537-5866-4F84-93EE-3C402D4404B5}" type="presParOf" srcId="{383BF468-62D9-4346-BD92-86276472569C}" destId="{662A42CD-CBDF-4113-9A5F-A49933114343}" srcOrd="3" destOrd="0" presId="urn:microsoft.com/office/officeart/2008/layout/VerticalCurvedList"/>
    <dgm:cxn modelId="{29FBD082-6C95-4F88-9E33-A59BA3E39B09}" type="presParOf" srcId="{383BF468-62D9-4346-BD92-86276472569C}" destId="{DD98B6FF-1F0C-45C5-A91C-04551F097CD4}" srcOrd="4" destOrd="0" presId="urn:microsoft.com/office/officeart/2008/layout/VerticalCurvedList"/>
    <dgm:cxn modelId="{2FC86A03-AF42-4116-A612-24040880989D}" type="presParOf" srcId="{DD98B6FF-1F0C-45C5-A91C-04551F097CD4}" destId="{E97E9402-42EB-4F29-AB12-4BAC2E65E606}" srcOrd="0" destOrd="0" presId="urn:microsoft.com/office/officeart/2008/layout/VerticalCurvedList"/>
    <dgm:cxn modelId="{A33542D9-2080-4D7F-BC78-663D2CE57136}" type="presParOf" srcId="{383BF468-62D9-4346-BD92-86276472569C}" destId="{F71058B3-7ADF-4CD3-A39D-10A73FC00B73}" srcOrd="5" destOrd="0" presId="urn:microsoft.com/office/officeart/2008/layout/VerticalCurvedList"/>
    <dgm:cxn modelId="{C53AF0E3-9976-490C-BC7B-0EB419CBD786}" type="presParOf" srcId="{383BF468-62D9-4346-BD92-86276472569C}" destId="{113A102E-B23F-4A3D-A6F4-464A589322F7}" srcOrd="6" destOrd="0" presId="urn:microsoft.com/office/officeart/2008/layout/VerticalCurvedList"/>
    <dgm:cxn modelId="{102C692A-4246-4C24-B7E2-357EF75F4290}" type="presParOf" srcId="{113A102E-B23F-4A3D-A6F4-464A589322F7}" destId="{0A4DEDDB-5C5C-4D82-9D5A-1A8BFF95BF9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B33855-0B59-42E9-B706-AD91B3876315}">
      <dsp:nvSpPr>
        <dsp:cNvPr id="0" name=""/>
        <dsp:cNvSpPr/>
      </dsp:nvSpPr>
      <dsp:spPr>
        <a:xfrm>
          <a:off x="-5426771" y="-835224"/>
          <a:ext cx="6495011" cy="6495011"/>
        </a:xfrm>
        <a:prstGeom prst="blockArc">
          <a:avLst>
            <a:gd name="adj1" fmla="val 18900000"/>
            <a:gd name="adj2" fmla="val 2700000"/>
            <a:gd name="adj3" fmla="val 333"/>
          </a:avLst>
        </a:prstGeom>
        <a:noFill/>
        <a:ln w="25400" cap="flat" cmpd="sng" algn="ctr">
          <a:solidFill>
            <a:srgbClr val="00009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6CDB63-C7A5-4FAA-8AF2-5BB92B713624}">
      <dsp:nvSpPr>
        <dsp:cNvPr id="0" name=""/>
        <dsp:cNvSpPr/>
      </dsp:nvSpPr>
      <dsp:spPr>
        <a:xfrm>
          <a:off x="643380" y="93900"/>
          <a:ext cx="5959988" cy="1255206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899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reating a vision of Agile transformation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en-GB" sz="1400" b="1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WHY</a:t>
          </a: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1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gile</a:t>
          </a: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- collaboration, satisfaction, speed…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How several ways from change management</a:t>
          </a:r>
          <a:endParaRPr lang="en-GB" sz="1400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43380" y="93900"/>
        <a:ext cx="5959988" cy="1255206"/>
      </dsp:txXfrm>
    </dsp:sp>
    <dsp:sp modelId="{64167E08-E870-4D56-82AA-FB170206DEF4}">
      <dsp:nvSpPr>
        <dsp:cNvPr id="0" name=""/>
        <dsp:cNvSpPr/>
      </dsp:nvSpPr>
      <dsp:spPr>
        <a:xfrm>
          <a:off x="0" y="93898"/>
          <a:ext cx="1315863" cy="1286204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03F29D-095A-4302-88B3-9A1AE243EF25}">
      <dsp:nvSpPr>
        <dsp:cNvPr id="0" name=""/>
        <dsp:cNvSpPr/>
      </dsp:nvSpPr>
      <dsp:spPr>
        <a:xfrm>
          <a:off x="1047825" y="1944240"/>
          <a:ext cx="5609243" cy="936080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899" tIns="40640" rIns="40640" bIns="406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6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ear and open communication of transformation</a:t>
          </a:r>
          <a:endParaRPr lang="cs-CZ" sz="1600" u="none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cs-CZ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„</a:t>
          </a: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formation radiators</a:t>
          </a:r>
          <a:r>
            <a:rPr lang="cs-CZ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“</a:t>
          </a:r>
          <a:endParaRPr lang="en-GB" sz="1400" u="none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transparent, safe information sharing</a:t>
          </a:r>
          <a:r>
            <a:rPr lang="cs-CZ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sp:txBody>
      <dsp:txXfrm>
        <a:off x="1047825" y="1944240"/>
        <a:ext cx="5609243" cy="936080"/>
      </dsp:txXfrm>
    </dsp:sp>
    <dsp:sp modelId="{F68EFEF6-36D4-4527-A7FC-4B711C3DC664}">
      <dsp:nvSpPr>
        <dsp:cNvPr id="0" name=""/>
        <dsp:cNvSpPr/>
      </dsp:nvSpPr>
      <dsp:spPr>
        <a:xfrm>
          <a:off x="432042" y="1944244"/>
          <a:ext cx="1007006" cy="983884"/>
        </a:xfrm>
        <a:prstGeom prst="ellipse">
          <a:avLst/>
        </a:prstGeom>
        <a:solidFill>
          <a:srgbClr val="00009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C5D2A0-0DD7-41DC-BDA2-62826D9FFF24}">
      <dsp:nvSpPr>
        <dsp:cNvPr id="0" name=""/>
        <dsp:cNvSpPr/>
      </dsp:nvSpPr>
      <dsp:spPr>
        <a:xfrm>
          <a:off x="697079" y="3398792"/>
          <a:ext cx="5959988" cy="921713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5899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ergy: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en-GB" sz="1400" kern="12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Openspace</a:t>
          </a:r>
          <a:endParaRPr lang="en-GB" sz="1400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Slack, </a:t>
          </a:r>
          <a:r>
            <a:rPr lang="en-GB" sz="1400" u="none" kern="12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rumnews</a:t>
          </a: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whiteboards…</a:t>
          </a:r>
          <a:endParaRPr lang="en-GB" sz="1400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97079" y="3398792"/>
        <a:ext cx="5959988" cy="921713"/>
      </dsp:txXfrm>
    </dsp:sp>
    <dsp:sp modelId="{8A0DB3C0-F570-4E53-9C5E-FA66B01CCB11}">
      <dsp:nvSpPr>
        <dsp:cNvPr id="0" name=""/>
        <dsp:cNvSpPr/>
      </dsp:nvSpPr>
      <dsp:spPr>
        <a:xfrm>
          <a:off x="198033" y="3366422"/>
          <a:ext cx="954093" cy="954081"/>
        </a:xfrm>
        <a:prstGeom prst="ellipse">
          <a:avLst/>
        </a:prstGeom>
        <a:solidFill>
          <a:srgbClr val="FFE1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B33855-0B59-42E9-B706-AD91B3876315}">
      <dsp:nvSpPr>
        <dsp:cNvPr id="0" name=""/>
        <dsp:cNvSpPr/>
      </dsp:nvSpPr>
      <dsp:spPr>
        <a:xfrm>
          <a:off x="-5129564" y="-785776"/>
          <a:ext cx="6108628" cy="6108628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rgbClr val="00009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6CDB63-C7A5-4FAA-8AF2-5BB92B713624}">
      <dsp:nvSpPr>
        <dsp:cNvPr id="0" name=""/>
        <dsp:cNvSpPr/>
      </dsp:nvSpPr>
      <dsp:spPr>
        <a:xfrm>
          <a:off x="629699" y="453707"/>
          <a:ext cx="5555442" cy="907415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ansition backlog (items supporting agile transition) </a:t>
          </a:r>
          <a:endParaRPr lang="en-GB" sz="1600" u="none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Structures, policies, practices, culture</a:t>
          </a:r>
        </a:p>
      </dsp:txBody>
      <dsp:txXfrm>
        <a:off x="629699" y="453707"/>
        <a:ext cx="5555442" cy="907415"/>
      </dsp:txXfrm>
    </dsp:sp>
    <dsp:sp modelId="{64167E08-E870-4D56-82AA-FB170206DEF4}">
      <dsp:nvSpPr>
        <dsp:cNvPr id="0" name=""/>
        <dsp:cNvSpPr/>
      </dsp:nvSpPr>
      <dsp:spPr>
        <a:xfrm>
          <a:off x="199652" y="432076"/>
          <a:ext cx="860093" cy="950676"/>
        </a:xfrm>
        <a:prstGeom prst="ellipse">
          <a:avLst/>
        </a:prstGeom>
        <a:solidFill>
          <a:srgbClr val="00009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B7FFB8-43F0-458A-82B2-3CF38E9B92CA}">
      <dsp:nvSpPr>
        <dsp:cNvPr id="0" name=""/>
        <dsp:cNvSpPr/>
      </dsp:nvSpPr>
      <dsp:spPr>
        <a:xfrm>
          <a:off x="959544" y="1944245"/>
          <a:ext cx="5225597" cy="648583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rom individual to team perspective/view</a:t>
          </a:r>
          <a:endParaRPr lang="en-GB" sz="1600" kern="12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59544" y="1944245"/>
        <a:ext cx="5225597" cy="648583"/>
      </dsp:txXfrm>
    </dsp:sp>
    <dsp:sp modelId="{88F512CA-81B4-4B48-A8AF-5F8355AC8947}">
      <dsp:nvSpPr>
        <dsp:cNvPr id="0" name=""/>
        <dsp:cNvSpPr/>
      </dsp:nvSpPr>
      <dsp:spPr>
        <a:xfrm>
          <a:off x="639312" y="1944760"/>
          <a:ext cx="640464" cy="647554"/>
        </a:xfrm>
        <a:prstGeom prst="ellipse">
          <a:avLst/>
        </a:prstGeom>
        <a:solidFill>
          <a:srgbClr val="00009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1483A2-14AE-466C-AB82-3B137DD62F7F}">
      <dsp:nvSpPr>
        <dsp:cNvPr id="0" name=""/>
        <dsp:cNvSpPr/>
      </dsp:nvSpPr>
      <dsp:spPr>
        <a:xfrm>
          <a:off x="629699" y="3175952"/>
          <a:ext cx="5555442" cy="907415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ergy: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Team targets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Line structure reorganization</a:t>
          </a:r>
        </a:p>
      </dsp:txBody>
      <dsp:txXfrm>
        <a:off x="629699" y="3175952"/>
        <a:ext cx="5555442" cy="907415"/>
      </dsp:txXfrm>
    </dsp:sp>
    <dsp:sp modelId="{9A3B318E-9C64-4647-879C-1BA83A337742}">
      <dsp:nvSpPr>
        <dsp:cNvPr id="0" name=""/>
        <dsp:cNvSpPr/>
      </dsp:nvSpPr>
      <dsp:spPr>
        <a:xfrm>
          <a:off x="123685" y="3154838"/>
          <a:ext cx="1012028" cy="949643"/>
        </a:xfrm>
        <a:prstGeom prst="ellipse">
          <a:avLst/>
        </a:prstGeom>
        <a:solidFill>
          <a:srgbClr val="FFE1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B33855-0B59-42E9-B706-AD91B3876315}">
      <dsp:nvSpPr>
        <dsp:cNvPr id="0" name=""/>
        <dsp:cNvSpPr/>
      </dsp:nvSpPr>
      <dsp:spPr>
        <a:xfrm>
          <a:off x="-5129517" y="-785776"/>
          <a:ext cx="6108628" cy="6108628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rgbClr val="00009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6CDB63-C7A5-4FAA-8AF2-5BB92B713624}">
      <dsp:nvSpPr>
        <dsp:cNvPr id="0" name=""/>
        <dsp:cNvSpPr/>
      </dsp:nvSpPr>
      <dsp:spPr>
        <a:xfrm>
          <a:off x="629746" y="360066"/>
          <a:ext cx="5555442" cy="1094696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ear product definition and bounder</a:t>
          </a:r>
          <a:r>
            <a:rPr lang="cs-CZ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y</a:t>
          </a:r>
          <a:endParaRPr lang="en-GB" sz="1600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Energy agile workshops with stakeholders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Identify</a:t>
          </a: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your development type</a:t>
          </a:r>
        </a:p>
      </dsp:txBody>
      <dsp:txXfrm>
        <a:off x="629746" y="360066"/>
        <a:ext cx="5555442" cy="1094696"/>
      </dsp:txXfrm>
    </dsp:sp>
    <dsp:sp modelId="{64167E08-E870-4D56-82AA-FB170206DEF4}">
      <dsp:nvSpPr>
        <dsp:cNvPr id="0" name=""/>
        <dsp:cNvSpPr/>
      </dsp:nvSpPr>
      <dsp:spPr>
        <a:xfrm>
          <a:off x="62611" y="340280"/>
          <a:ext cx="1134268" cy="1134268"/>
        </a:xfrm>
        <a:prstGeom prst="ellipse">
          <a:avLst/>
        </a:prstGeom>
        <a:solidFill>
          <a:srgbClr val="00009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EFEB7E-4AFD-415A-8499-7AD0959093EB}">
      <dsp:nvSpPr>
        <dsp:cNvPr id="0" name=""/>
        <dsp:cNvSpPr/>
      </dsp:nvSpPr>
      <dsp:spPr>
        <a:xfrm>
          <a:off x="959591" y="1872237"/>
          <a:ext cx="5225597" cy="792599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40640" rIns="40640" bIns="40640" numCol="1" spcCol="1270" anchor="ctr" anchorCtr="0">
          <a:noAutofit/>
        </a:bodyPr>
        <a:lstStyle/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duct owner role</a:t>
          </a:r>
          <a:endParaRPr lang="en-GB" sz="1400" kern="12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59591" y="1872237"/>
        <a:ext cx="5225597" cy="792599"/>
      </dsp:txXfrm>
    </dsp:sp>
    <dsp:sp modelId="{90EADE90-48FA-4A5E-9829-BA3BC423DE00}">
      <dsp:nvSpPr>
        <dsp:cNvPr id="0" name=""/>
        <dsp:cNvSpPr/>
      </dsp:nvSpPr>
      <dsp:spPr>
        <a:xfrm>
          <a:off x="559693" y="1872235"/>
          <a:ext cx="799795" cy="792604"/>
        </a:xfrm>
        <a:prstGeom prst="ellipse">
          <a:avLst/>
        </a:prstGeom>
        <a:solidFill>
          <a:srgbClr val="00009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80BDFE-0C23-4F9C-9455-201CC3119869}">
      <dsp:nvSpPr>
        <dsp:cNvPr id="0" name=""/>
        <dsp:cNvSpPr/>
      </dsp:nvSpPr>
      <dsp:spPr>
        <a:xfrm>
          <a:off x="629746" y="3096372"/>
          <a:ext cx="5555442" cy="1066575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40640" rIns="40640" bIns="40640" numCol="1" spcCol="1270" anchor="ctr" anchorCtr="0">
          <a:noAutofit/>
        </a:bodyPr>
        <a:lstStyle/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6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ergy:</a:t>
          </a: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Product vision, roadmaps in Aha!</a:t>
          </a: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Product development</a:t>
          </a: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Product owner TBD</a:t>
          </a:r>
          <a:endParaRPr lang="en-GB" sz="1400" kern="12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29746" y="3096372"/>
        <a:ext cx="5555442" cy="1066575"/>
      </dsp:txXfrm>
    </dsp:sp>
    <dsp:sp modelId="{F026EF24-9C89-4770-971D-06798EEB8D08}">
      <dsp:nvSpPr>
        <dsp:cNvPr id="0" name=""/>
        <dsp:cNvSpPr/>
      </dsp:nvSpPr>
      <dsp:spPr>
        <a:xfrm>
          <a:off x="62611" y="3062525"/>
          <a:ext cx="1134268" cy="1134268"/>
        </a:xfrm>
        <a:prstGeom prst="ellipse">
          <a:avLst/>
        </a:prstGeom>
        <a:solidFill>
          <a:srgbClr val="FFE1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B33855-0B59-42E9-B706-AD91B3876315}">
      <dsp:nvSpPr>
        <dsp:cNvPr id="0" name=""/>
        <dsp:cNvSpPr/>
      </dsp:nvSpPr>
      <dsp:spPr>
        <a:xfrm>
          <a:off x="-5139565" y="-785776"/>
          <a:ext cx="6108628" cy="6108628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rgbClr val="00009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6CDB63-C7A5-4FAA-8AF2-5BB92B713624}">
      <dsp:nvSpPr>
        <dsp:cNvPr id="0" name=""/>
        <dsp:cNvSpPr/>
      </dsp:nvSpPr>
      <dsp:spPr>
        <a:xfrm>
          <a:off x="579254" y="216050"/>
          <a:ext cx="5555442" cy="1098525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olid foundation of Agile values, principles and practices at the team level</a:t>
          </a:r>
          <a:endParaRPr lang="cs-CZ" sz="1600" u="none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cs-CZ" sz="1400" u="none" kern="12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LinkedIn</a:t>
          </a:r>
          <a:r>
            <a:rPr lang="cs-CZ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cs-CZ" sz="1400" u="none" kern="12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etromat</a:t>
          </a:r>
          <a:r>
            <a:rPr lang="cs-CZ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case </a:t>
          </a:r>
          <a:r>
            <a:rPr lang="cs-CZ" sz="1400" u="none" kern="12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tudies</a:t>
          </a:r>
          <a:r>
            <a:rPr lang="cs-CZ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cs-CZ" sz="1400" u="none" kern="12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nferences</a:t>
          </a:r>
          <a:r>
            <a:rPr lang="cs-CZ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…</a:t>
          </a:r>
          <a:endParaRPr lang="en-GB" sz="1400" u="none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u="none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Finding </a:t>
          </a: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he right scaling pattern</a:t>
          </a:r>
        </a:p>
      </dsp:txBody>
      <dsp:txXfrm>
        <a:off x="579254" y="216050"/>
        <a:ext cx="5555442" cy="1098525"/>
      </dsp:txXfrm>
    </dsp:sp>
    <dsp:sp modelId="{64167E08-E870-4D56-82AA-FB170206DEF4}">
      <dsp:nvSpPr>
        <dsp:cNvPr id="0" name=""/>
        <dsp:cNvSpPr/>
      </dsp:nvSpPr>
      <dsp:spPr>
        <a:xfrm>
          <a:off x="53516" y="216055"/>
          <a:ext cx="1134268" cy="1134268"/>
        </a:xfrm>
        <a:prstGeom prst="ellipse">
          <a:avLst/>
        </a:prstGeom>
        <a:solidFill>
          <a:srgbClr val="00009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B7FFB8-43F0-458A-82B2-3CF38E9B92CA}">
      <dsp:nvSpPr>
        <dsp:cNvPr id="0" name=""/>
        <dsp:cNvSpPr/>
      </dsp:nvSpPr>
      <dsp:spPr>
        <a:xfrm>
          <a:off x="775740" y="1890712"/>
          <a:ext cx="5337111" cy="989635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rummaster</a:t>
          </a: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role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Recommended to have dedicated fulltime role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Up to three teams</a:t>
          </a:r>
        </a:p>
      </dsp:txBody>
      <dsp:txXfrm>
        <a:off x="775740" y="1890712"/>
        <a:ext cx="5337111" cy="989635"/>
      </dsp:txXfrm>
    </dsp:sp>
    <dsp:sp modelId="{88F512CA-81B4-4B48-A8AF-5F8355AC8947}">
      <dsp:nvSpPr>
        <dsp:cNvPr id="0" name=""/>
        <dsp:cNvSpPr/>
      </dsp:nvSpPr>
      <dsp:spPr>
        <a:xfrm>
          <a:off x="271664" y="1843566"/>
          <a:ext cx="1072507" cy="1036778"/>
        </a:xfrm>
        <a:prstGeom prst="ellipse">
          <a:avLst/>
        </a:prstGeom>
        <a:solidFill>
          <a:srgbClr val="00009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F50535-79D1-43D3-BBA7-11981454AFD5}">
      <dsp:nvSpPr>
        <dsp:cNvPr id="0" name=""/>
        <dsp:cNvSpPr/>
      </dsp:nvSpPr>
      <dsp:spPr>
        <a:xfrm>
          <a:off x="558393" y="3240388"/>
          <a:ext cx="5590497" cy="1065196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35560" rIns="35560" bIns="35560" numCol="1" spcCol="1270" anchor="ctr" anchorCtr="0">
          <a:noAutofit/>
        </a:bodyPr>
        <a:lstStyle/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ergy:</a:t>
          </a: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Uses Less</a:t>
          </a:r>
          <a:r>
            <a:rPr lang="cs-CZ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cs-CZ" sz="1400" kern="12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actices</a:t>
          </a:r>
          <a:endParaRPr lang="en-GB" sz="1400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Initial workshop with stakeholders</a:t>
          </a: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Initial workshop with teams (</a:t>
          </a:r>
          <a:r>
            <a:rPr lang="en-GB" sz="1400" kern="12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indmap</a:t>
          </a: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of artefacts)</a:t>
          </a: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Trainings</a:t>
          </a:r>
          <a:endParaRPr lang="en-GB" sz="1400" kern="12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58393" y="3240388"/>
        <a:ext cx="5590497" cy="1065196"/>
      </dsp:txXfrm>
    </dsp:sp>
    <dsp:sp modelId="{E97E9402-42EB-4F29-AB12-4BAC2E65E606}">
      <dsp:nvSpPr>
        <dsp:cNvPr id="0" name=""/>
        <dsp:cNvSpPr/>
      </dsp:nvSpPr>
      <dsp:spPr>
        <a:xfrm>
          <a:off x="0" y="3186240"/>
          <a:ext cx="1205591" cy="1134268"/>
        </a:xfrm>
        <a:prstGeom prst="ellipse">
          <a:avLst/>
        </a:prstGeom>
        <a:solidFill>
          <a:srgbClr val="FFE1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B33855-0B59-42E9-B706-AD91B3876315}">
      <dsp:nvSpPr>
        <dsp:cNvPr id="0" name=""/>
        <dsp:cNvSpPr/>
      </dsp:nvSpPr>
      <dsp:spPr>
        <a:xfrm>
          <a:off x="-5052066" y="-785776"/>
          <a:ext cx="6108628" cy="6108628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F4373B-AFED-4E80-B493-0D2FDA6CEF18}">
      <dsp:nvSpPr>
        <dsp:cNvPr id="0" name=""/>
        <dsp:cNvSpPr/>
      </dsp:nvSpPr>
      <dsp:spPr>
        <a:xfrm>
          <a:off x="707196" y="360066"/>
          <a:ext cx="5555442" cy="1094696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odern SW engineering best practices</a:t>
          </a:r>
          <a:endParaRPr lang="cs-CZ" sz="1600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utomation</a:t>
          </a:r>
          <a:endParaRPr lang="cs-CZ" sz="1400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en-GB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I</a:t>
          </a:r>
          <a:r>
            <a:rPr lang="cs-CZ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/CD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M</a:t>
          </a:r>
          <a:r>
            <a:rPr lang="en-GB" sz="1400" kern="1200" noProof="0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onitoring</a:t>
          </a:r>
          <a:r>
            <a:rPr lang="cs-CZ" sz="14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…</a:t>
          </a:r>
        </a:p>
      </dsp:txBody>
      <dsp:txXfrm>
        <a:off x="707196" y="360066"/>
        <a:ext cx="5555442" cy="1094696"/>
      </dsp:txXfrm>
    </dsp:sp>
    <dsp:sp modelId="{88F512CA-81B4-4B48-A8AF-5F8355AC8947}">
      <dsp:nvSpPr>
        <dsp:cNvPr id="0" name=""/>
        <dsp:cNvSpPr/>
      </dsp:nvSpPr>
      <dsp:spPr>
        <a:xfrm>
          <a:off x="127647" y="360067"/>
          <a:ext cx="1159097" cy="1094694"/>
        </a:xfrm>
        <a:prstGeom prst="ellipse">
          <a:avLst/>
        </a:prstGeom>
        <a:solidFill>
          <a:srgbClr val="00009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2A42CD-CBDF-4113-9A5F-A49933114343}">
      <dsp:nvSpPr>
        <dsp:cNvPr id="0" name=""/>
        <dsp:cNvSpPr/>
      </dsp:nvSpPr>
      <dsp:spPr>
        <a:xfrm>
          <a:off x="1037042" y="1872750"/>
          <a:ext cx="5225597" cy="791574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40640" rIns="40640" bIns="40640" numCol="1" spcCol="1270" anchor="ctr" anchorCtr="0">
          <a:noAutofit/>
        </a:bodyPr>
        <a:lstStyle/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vironments, tools </a:t>
          </a:r>
          <a:r>
            <a:rPr lang="cs-CZ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… </a:t>
          </a: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pporting Agile development</a:t>
          </a:r>
          <a:endParaRPr lang="en-GB" sz="1600" kern="12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037042" y="1872750"/>
        <a:ext cx="5225597" cy="791574"/>
      </dsp:txXfrm>
    </dsp:sp>
    <dsp:sp modelId="{E97E9402-42EB-4F29-AB12-4BAC2E65E606}">
      <dsp:nvSpPr>
        <dsp:cNvPr id="0" name=""/>
        <dsp:cNvSpPr/>
      </dsp:nvSpPr>
      <dsp:spPr>
        <a:xfrm>
          <a:off x="559696" y="1800226"/>
          <a:ext cx="996092" cy="906791"/>
        </a:xfrm>
        <a:prstGeom prst="ellipse">
          <a:avLst/>
        </a:prstGeom>
        <a:solidFill>
          <a:srgbClr val="00009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1058B3-7ADF-4CD3-A39D-10A73FC00B73}">
      <dsp:nvSpPr>
        <dsp:cNvPr id="0" name=""/>
        <dsp:cNvSpPr/>
      </dsp:nvSpPr>
      <dsp:spPr>
        <a:xfrm>
          <a:off x="707196" y="2938813"/>
          <a:ext cx="5555442" cy="1381693"/>
        </a:xfrm>
        <a:prstGeom prst="rect">
          <a:avLst/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261" tIns="40640" rIns="40640" bIns="40640" numCol="1" spcCol="1270" anchor="ctr" anchorCtr="0">
          <a:noAutofit/>
        </a:bodyPr>
        <a:lstStyle/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nergy:</a:t>
          </a: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QA checks (Sonar)</a:t>
          </a: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CI/CD Jenkins</a:t>
          </a: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AWS testing environments…</a:t>
          </a:r>
        </a:p>
        <a:p>
          <a:pPr marL="0" lvl="0" indent="0" algn="l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6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Focus on automation (testing, deployment…)</a:t>
          </a:r>
          <a:endParaRPr lang="en-GB" sz="1600" kern="12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07196" y="2938813"/>
        <a:ext cx="5555442" cy="1381693"/>
      </dsp:txXfrm>
    </dsp:sp>
    <dsp:sp modelId="{0A4DEDDB-5C5C-4D82-9D5A-1A8BFF95BF98}">
      <dsp:nvSpPr>
        <dsp:cNvPr id="0" name=""/>
        <dsp:cNvSpPr/>
      </dsp:nvSpPr>
      <dsp:spPr>
        <a:xfrm>
          <a:off x="-14839" y="2938810"/>
          <a:ext cx="1444071" cy="1381698"/>
        </a:xfrm>
        <a:prstGeom prst="ellipse">
          <a:avLst/>
        </a:prstGeom>
        <a:solidFill>
          <a:srgbClr val="FFE1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4602" cy="49569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63709" y="0"/>
            <a:ext cx="2954601" cy="49569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39C1F9-8318-4450-84DF-5EEAC82CDAD9}" type="datetimeFigureOut">
              <a:rPr lang="de-DE" smtClean="0"/>
              <a:t>18.01.2018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1421"/>
            <a:ext cx="2954602" cy="4956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63709" y="9421421"/>
            <a:ext cx="2954601" cy="4956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A7EBB2-9B59-4CFC-82E1-CB6A2264027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3140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1" y="25"/>
            <a:ext cx="2956033" cy="496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5" tIns="45636" rIns="91275" bIns="45636" numCol="1" anchor="t" anchorCtr="0" compatLnSpc="1">
            <a:prstTxWarp prst="textNoShape">
              <a:avLst/>
            </a:prstTxWarp>
          </a:bodyPr>
          <a:lstStyle>
            <a:lvl1pPr defTabSz="913051">
              <a:defRPr sz="1200"/>
            </a:lvl1pPr>
          </a:lstStyle>
          <a:p>
            <a:endParaRPr lang="de-DE"/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63892" y="25"/>
            <a:ext cx="2954441" cy="496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5" tIns="45636" rIns="91275" bIns="45636" numCol="1" anchor="t" anchorCtr="0" compatLnSpc="1">
            <a:prstTxWarp prst="textNoShape">
              <a:avLst/>
            </a:prstTxWarp>
          </a:bodyPr>
          <a:lstStyle>
            <a:lvl1pPr algn="r" defTabSz="913051">
              <a:defRPr sz="1200"/>
            </a:lvl1pPr>
          </a:lstStyle>
          <a:p>
            <a:endParaRPr lang="de-DE"/>
          </a:p>
        </p:txBody>
      </p:sp>
      <p:sp>
        <p:nvSpPr>
          <p:cNvPr id="1003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41325" y="496888"/>
            <a:ext cx="5937250" cy="44529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03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3291" y="4949058"/>
            <a:ext cx="5453372" cy="446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5" tIns="45636" rIns="91275" bIns="4563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1003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1" y="9422209"/>
            <a:ext cx="2956033" cy="494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5" tIns="45636" rIns="91275" bIns="45636" numCol="1" anchor="b" anchorCtr="0" compatLnSpc="1">
            <a:prstTxWarp prst="textNoShape">
              <a:avLst/>
            </a:prstTxWarp>
          </a:bodyPr>
          <a:lstStyle>
            <a:lvl1pPr defTabSz="913051">
              <a:defRPr sz="1200"/>
            </a:lvl1pPr>
          </a:lstStyle>
          <a:p>
            <a:endParaRPr lang="de-DE"/>
          </a:p>
        </p:txBody>
      </p:sp>
      <p:sp>
        <p:nvSpPr>
          <p:cNvPr id="1003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3892" y="9422209"/>
            <a:ext cx="2954441" cy="494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5" tIns="45636" rIns="91275" bIns="45636" numCol="1" anchor="b" anchorCtr="0" compatLnSpc="1">
            <a:prstTxWarp prst="textNoShape">
              <a:avLst/>
            </a:prstTxWarp>
          </a:bodyPr>
          <a:lstStyle>
            <a:lvl1pPr algn="r" defTabSz="913051">
              <a:defRPr sz="1200"/>
            </a:lvl1pPr>
          </a:lstStyle>
          <a:p>
            <a:fld id="{63AE4FB6-5C0B-4234-88D4-0CFC88DE432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774394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34817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noProof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Product development (external customer or market)</a:t>
            </a:r>
          </a:p>
          <a:p>
            <a:pPr marL="0" lvl="0" indent="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noProof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Internal development (internal customer)</a:t>
            </a:r>
          </a:p>
          <a:p>
            <a:pPr marL="0" lvl="0" indent="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noProof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Project development (outsourced develop</a:t>
            </a:r>
            <a:r>
              <a:rPr lang="cs-CZ" sz="1200" noProof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GB" sz="1200" noProof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</a:t>
            </a:r>
            <a:r>
              <a:rPr lang="en-GB" sz="1200" noProof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en-GB" dirty="0" smtClean="0"/>
          </a:p>
          <a:p>
            <a:r>
              <a:rPr lang="cs-CZ" dirty="0" smtClean="0"/>
              <a:t>Project </a:t>
            </a:r>
            <a:r>
              <a:rPr lang="cs-CZ" dirty="0" err="1" smtClean="0"/>
              <a:t>development</a:t>
            </a:r>
            <a:r>
              <a:rPr lang="cs-CZ" dirty="0" smtClean="0"/>
              <a:t> - </a:t>
            </a:r>
            <a:r>
              <a:rPr lang="en-GB" dirty="0" smtClean="0"/>
              <a:t>The customer, or client company, includes both the purchasing entity and the users</a:t>
            </a:r>
            <a:endParaRPr lang="cs-CZ" dirty="0" smtClean="0"/>
          </a:p>
          <a:p>
            <a:r>
              <a:rPr lang="en-GB" dirty="0" smtClean="0"/>
              <a:t>Product Owner for product development should come from the business side.</a:t>
            </a:r>
            <a:endParaRPr lang="cs-CZ" dirty="0" smtClean="0"/>
          </a:p>
          <a:p>
            <a:r>
              <a:rPr lang="en-GB" dirty="0" smtClean="0"/>
              <a:t>Product Owner for internal product development in </a:t>
            </a:r>
            <a:r>
              <a:rPr lang="en-GB" dirty="0" err="1" smtClean="0"/>
              <a:t>LeSS</a:t>
            </a:r>
            <a:r>
              <a:rPr lang="en-GB" dirty="0" smtClean="0"/>
              <a:t> is (1) from within the group that will use the system, and (2) is closely involved in and deeply experienced in doing the real work that the system will support</a:t>
            </a:r>
            <a:endParaRPr lang="en-GB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78628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57034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8468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87389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22293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63946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44441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70987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674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1719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tes</a:t>
            </a:r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303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9670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67883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68694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38024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66735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E4FB6-5C0B-4234-88D4-0CFC88DE4327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7609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jp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15.jp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8.bin"/><Relationship Id="rId4" Type="http://schemas.openxmlformats.org/officeDocument/2006/relationships/image" Target="../media/image16.jp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17.jp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18.jp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1.bin"/><Relationship Id="rId4" Type="http://schemas.openxmlformats.org/officeDocument/2006/relationships/image" Target="../media/image19.jp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20.jp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3.bin"/><Relationship Id="rId4" Type="http://schemas.openxmlformats.org/officeDocument/2006/relationships/image" Target="../media/image21.jpe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5.jp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6.bin"/><Relationship Id="rId4" Type="http://schemas.openxmlformats.org/officeDocument/2006/relationships/image" Target="../media/image7.jpe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8.jp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8.bin"/><Relationship Id="rId4" Type="http://schemas.openxmlformats.org/officeDocument/2006/relationships/image" Target="../media/image9.jp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10.jp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1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0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1.bin"/><Relationship Id="rId4" Type="http://schemas.openxmlformats.org/officeDocument/2006/relationships/image" Target="../media/image12.jpe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13.jp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0.jp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3.bin"/><Relationship Id="rId4" Type="http://schemas.openxmlformats.org/officeDocument/2006/relationships/image" Target="../media/image14.jp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15.jp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16.jp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6.bin"/><Relationship Id="rId4" Type="http://schemas.openxmlformats.org/officeDocument/2006/relationships/image" Target="../media/image17.jp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18.jp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8.bin"/><Relationship Id="rId4" Type="http://schemas.openxmlformats.org/officeDocument/2006/relationships/image" Target="../media/image19.jp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20.jp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image" Target="../media/image21.jpeg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2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3.jpg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6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image" Target="../media/image5.jp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image" Target="../media/image7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1.bin"/><Relationship Id="rId4" Type="http://schemas.openxmlformats.org/officeDocument/2006/relationships/image" Target="../media/image8.jp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9.jp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3.bin"/><Relationship Id="rId4" Type="http://schemas.openxmlformats.org/officeDocument/2006/relationships/image" Target="../media/image10.jp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1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4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image" Target="../media/image12.jpe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6.bin"/><Relationship Id="rId4" Type="http://schemas.openxmlformats.org/officeDocument/2006/relationships/image" Target="../media/image13.jp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image" Target="../media/image14.jp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8.bin"/><Relationship Id="rId4" Type="http://schemas.openxmlformats.org/officeDocument/2006/relationships/image" Target="../media/image15.jp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image" Target="../media/image16.jp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17.jp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1.bin"/><Relationship Id="rId4" Type="http://schemas.openxmlformats.org/officeDocument/2006/relationships/image" Target="../media/image18.jp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image" Target="../media/image19.jpg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3.bin"/><Relationship Id="rId4" Type="http://schemas.openxmlformats.org/officeDocument/2006/relationships/image" Target="../media/image20.jp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21.jpeg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6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2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6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6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7.bin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2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4.jpg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0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2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1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2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29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3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4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31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5.bin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5.jpg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3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6.bin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6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8.bin"/><Relationship Id="rId4" Type="http://schemas.openxmlformats.org/officeDocument/2006/relationships/image" Target="../media/image5.jpg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image" Target="../media/image7.jpe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image" Target="../media/image8.jp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1.bin"/><Relationship Id="rId4" Type="http://schemas.openxmlformats.org/officeDocument/2006/relationships/image" Target="../media/image9.jp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6.jp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image" Target="../media/image10.jp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1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12.jpe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image" Target="../media/image13.jpg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7.jpg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6.bin"/><Relationship Id="rId4" Type="http://schemas.openxmlformats.org/officeDocument/2006/relationships/image" Target="../media/image14.jp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15.jp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8.bin"/><Relationship Id="rId4" Type="http://schemas.openxmlformats.org/officeDocument/2006/relationships/image" Target="../media/image16.jpg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17.jpg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18.jpg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1.bin"/><Relationship Id="rId4" Type="http://schemas.openxmlformats.org/officeDocument/2006/relationships/image" Target="../media/image19.jpg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20.jp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3.bin"/><Relationship Id="rId4" Type="http://schemas.openxmlformats.org/officeDocument/2006/relationships/image" Target="../media/image21.jpeg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5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8.jpg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6.bin"/><Relationship Id="rId4" Type="http://schemas.openxmlformats.org/officeDocument/2006/relationships/image" Target="../media/image7.jpeg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8.jpg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8.bin"/><Relationship Id="rId4" Type="http://schemas.openxmlformats.org/officeDocument/2006/relationships/image" Target="../media/image9.jp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10.jpg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11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0.bin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1.bin"/><Relationship Id="rId4" Type="http://schemas.openxmlformats.org/officeDocument/2006/relationships/image" Target="../media/image12.jpe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13.jpg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9.jpg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3.bin"/><Relationship Id="rId4" Type="http://schemas.openxmlformats.org/officeDocument/2006/relationships/image" Target="../media/image14.jp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15.jpg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16.jpg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6.bin"/><Relationship Id="rId4" Type="http://schemas.openxmlformats.org/officeDocument/2006/relationships/image" Target="../media/image17.jp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18.jp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20.jp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8.bin"/><Relationship Id="rId4" Type="http://schemas.openxmlformats.org/officeDocument/2006/relationships/image" Target="../media/image19.jp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9.bin"/><Relationship Id="rId4" Type="http://schemas.openxmlformats.org/officeDocument/2006/relationships/image" Target="../media/image20.jpg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0.bin"/><Relationship Id="rId4" Type="http://schemas.openxmlformats.org/officeDocument/2006/relationships/image" Target="../media/image21.jpeg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6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2.bin"/><Relationship Id="rId4" Type="http://schemas.openxmlformats.org/officeDocument/2006/relationships/image" Target="../media/image5.jpg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3.bin"/><Relationship Id="rId4" Type="http://schemas.openxmlformats.org/officeDocument/2006/relationships/image" Target="../media/image7.jpeg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image" Target="../media/image9.jp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5.bin"/><Relationship Id="rId4" Type="http://schemas.openxmlformats.org/officeDocument/2006/relationships/image" Target="../media/image8.jp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21.jpeg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6.bin"/><Relationship Id="rId4" Type="http://schemas.openxmlformats.org/officeDocument/2006/relationships/image" Target="../media/image10.jpg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7.bin"/><Relationship Id="rId4" Type="http://schemas.openxmlformats.org/officeDocument/2006/relationships/image" Target="../media/image13.jp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8.bin"/><Relationship Id="rId4" Type="http://schemas.openxmlformats.org/officeDocument/2006/relationships/image" Target="../media/image11.jpeg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9.bin"/><Relationship Id="rId4" Type="http://schemas.openxmlformats.org/officeDocument/2006/relationships/image" Target="../media/image12.jpeg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0.bin"/><Relationship Id="rId4" Type="http://schemas.openxmlformats.org/officeDocument/2006/relationships/image" Target="../media/image17.jpg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1.bin"/><Relationship Id="rId4" Type="http://schemas.openxmlformats.org/officeDocument/2006/relationships/image" Target="../media/image14.jpg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16.jp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3.bin"/><Relationship Id="rId4" Type="http://schemas.openxmlformats.org/officeDocument/2006/relationships/image" Target="../media/image15.jpg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4.bin"/><Relationship Id="rId4" Type="http://schemas.openxmlformats.org/officeDocument/2006/relationships/image" Target="../media/image19.jpg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5.bin"/><Relationship Id="rId4" Type="http://schemas.openxmlformats.org/officeDocument/2006/relationships/image" Target="../media/image18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6.bin"/><Relationship Id="rId4" Type="http://schemas.openxmlformats.org/officeDocument/2006/relationships/image" Target="../media/image20.jp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7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8.bin"/><Relationship Id="rId4" Type="http://schemas.openxmlformats.org/officeDocument/2006/relationships/image" Target="../media/image4.jpg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21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g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6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1.bin"/><Relationship Id="rId4" Type="http://schemas.openxmlformats.org/officeDocument/2006/relationships/image" Target="../media/image5.jpg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7.jpe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3.bin"/><Relationship Id="rId4" Type="http://schemas.openxmlformats.org/officeDocument/2006/relationships/image" Target="../media/image9.jpg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image" Target="../media/image8.jpg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5.bin"/><Relationship Id="rId4" Type="http://schemas.openxmlformats.org/officeDocument/2006/relationships/image" Target="../media/image10.jp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6.bin"/><Relationship Id="rId4" Type="http://schemas.openxmlformats.org/officeDocument/2006/relationships/image" Target="../media/image13.jp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7.bin"/><Relationship Id="rId4" Type="http://schemas.openxmlformats.org/officeDocument/2006/relationships/image" Target="../media/image11.jpeg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8.bin"/><Relationship Id="rId4" Type="http://schemas.openxmlformats.org/officeDocument/2006/relationships/image" Target="../media/image12.jpe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9.bin"/><Relationship Id="rId4" Type="http://schemas.openxmlformats.org/officeDocument/2006/relationships/image" Target="../media/image17.jpg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0.bin"/><Relationship Id="rId4" Type="http://schemas.openxmlformats.org/officeDocument/2006/relationships/image" Target="../media/image14.jpg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1.bin"/><Relationship Id="rId4" Type="http://schemas.openxmlformats.org/officeDocument/2006/relationships/image" Target="../media/image16.jpg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2.bin"/><Relationship Id="rId4" Type="http://schemas.openxmlformats.org/officeDocument/2006/relationships/image" Target="../media/image15.jpg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3.bin"/><Relationship Id="rId4" Type="http://schemas.openxmlformats.org/officeDocument/2006/relationships/image" Target="../media/image19.jpg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4.bin"/><Relationship Id="rId4" Type="http://schemas.openxmlformats.org/officeDocument/2006/relationships/image" Target="../media/image18.jpg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5.bin"/><Relationship Id="rId4" Type="http://schemas.openxmlformats.org/officeDocument/2006/relationships/image" Target="../media/image20.jpg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6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7.bin"/><Relationship Id="rId4" Type="http://schemas.openxmlformats.org/officeDocument/2006/relationships/image" Target="../media/image4.jpg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8.bin"/><Relationship Id="rId4" Type="http://schemas.openxmlformats.org/officeDocument/2006/relationships/image" Target="../media/image21.jpeg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6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0.bin"/><Relationship Id="rId4" Type="http://schemas.openxmlformats.org/officeDocument/2006/relationships/image" Target="../media/image5.jp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7.jpeg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1.bin"/><Relationship Id="rId4" Type="http://schemas.openxmlformats.org/officeDocument/2006/relationships/image" Target="../media/image7.jpeg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2.bin"/><Relationship Id="rId4" Type="http://schemas.openxmlformats.org/officeDocument/2006/relationships/image" Target="../media/image9.jpg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3.bin"/><Relationship Id="rId4" Type="http://schemas.openxmlformats.org/officeDocument/2006/relationships/image" Target="../media/image8.jpg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4.bin"/><Relationship Id="rId4" Type="http://schemas.openxmlformats.org/officeDocument/2006/relationships/image" Target="../media/image10.jpg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2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5.bin"/><Relationship Id="rId4" Type="http://schemas.openxmlformats.org/officeDocument/2006/relationships/image" Target="../media/image13.jpg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6.bin"/><Relationship Id="rId4" Type="http://schemas.openxmlformats.org/officeDocument/2006/relationships/image" Target="../media/image11.jpeg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7.bin"/><Relationship Id="rId4" Type="http://schemas.openxmlformats.org/officeDocument/2006/relationships/image" Target="../media/image12.jpeg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8.bin"/><Relationship Id="rId4" Type="http://schemas.openxmlformats.org/officeDocument/2006/relationships/image" Target="../media/image17.jp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8.jpg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9.bin"/><Relationship Id="rId4" Type="http://schemas.openxmlformats.org/officeDocument/2006/relationships/image" Target="../media/image14.jpg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0.bin"/><Relationship Id="rId4" Type="http://schemas.openxmlformats.org/officeDocument/2006/relationships/image" Target="../media/image16.jpg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1.bin"/><Relationship Id="rId4" Type="http://schemas.openxmlformats.org/officeDocument/2006/relationships/image" Target="../media/image15.jpg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2.bin"/><Relationship Id="rId4" Type="http://schemas.openxmlformats.org/officeDocument/2006/relationships/image" Target="../media/image19.jpg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3.bin"/><Relationship Id="rId4" Type="http://schemas.openxmlformats.org/officeDocument/2006/relationships/image" Target="../media/image18.jp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4.bin"/><Relationship Id="rId4" Type="http://schemas.openxmlformats.org/officeDocument/2006/relationships/image" Target="../media/image20.jp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5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6.bin"/><Relationship Id="rId4" Type="http://schemas.openxmlformats.org/officeDocument/2006/relationships/image" Target="../media/image4.jpg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9.jpg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7.bin"/><Relationship Id="rId4" Type="http://schemas.openxmlformats.org/officeDocument/2006/relationships/image" Target="../media/image21.jpeg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10.jp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1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2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13.jp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14.jp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15.jp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16.jp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17.jp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18.jp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19.jp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image" Target="../media/image20.jp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21.jpe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5.jp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7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9.jp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8.jp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10.jp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13.jp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11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image" Target="../media/image12.jpe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17.jp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image" Target="../media/image14.jp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16.jp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15.jp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image" Target="../media/image19.jp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18.jp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3.bin"/><Relationship Id="rId4" Type="http://schemas.openxmlformats.org/officeDocument/2006/relationships/image" Target="../media/image20.jp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4.jp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6.bin"/><Relationship Id="rId4" Type="http://schemas.openxmlformats.org/officeDocument/2006/relationships/image" Target="../media/image21.jpeg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image" Target="../media/image5.jp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7.jpe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8.jp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image" Target="../media/image9.jp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10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e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1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12.jpe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image" Target="../media/image13.jp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6.bin"/><Relationship Id="rId4" Type="http://schemas.openxmlformats.org/officeDocument/2006/relationships/image" Target="../media/image14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97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3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7" y="180000"/>
            <a:ext cx="8784687" cy="649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24149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7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500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9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15793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780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2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401657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576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4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09382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29753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7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407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8910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110358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6" y="179999"/>
            <a:ext cx="8784343" cy="649221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991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2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334546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62016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4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98430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5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6682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6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395514790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648881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4816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4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238893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9797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6839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768434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485591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553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1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45108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7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73886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304129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20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6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468880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333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8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648391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872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0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52693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8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3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9381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3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667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5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480564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833920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65007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206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4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070170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2926553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1508766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27356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64645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4657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2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53802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568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4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326119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255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7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249793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9781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9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7352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3200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2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198236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6" y="179999"/>
            <a:ext cx="8784343" cy="649221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644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4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4708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0602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440326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2958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6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541653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5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833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9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380654749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697137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86077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340670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2718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70008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1969648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8641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3576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589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4047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55878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90611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884439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337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196212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7501060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5671270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04389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40889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683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3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075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1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523549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565215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62134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013674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94826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005565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87850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27090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5107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015898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1094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16121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71723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666250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870404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37678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84968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06231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869443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01607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196759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179465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29817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016893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30168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15756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65112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761132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82954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009035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1933934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314231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3498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094465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89950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61084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730589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10057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0630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2718930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0963564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81446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70049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5353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7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57119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4290550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22119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364094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8340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74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76283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7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3069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77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588618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646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9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796656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2110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2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168252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99330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84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848037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513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86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923491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3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6941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9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903680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9270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2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8" y="180253"/>
            <a:ext cx="8785226" cy="649287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430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95106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82925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6157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8720143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9226958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57247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8206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1845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6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337836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80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8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27894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5564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10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344410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9638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3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5137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9638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5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2874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589678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6" y="179999"/>
            <a:ext cx="8784343" cy="649221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897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18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48611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6799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20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197684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5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9565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22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327155522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074610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high fr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64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0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0" y="1460402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1598935"/>
            <a:ext cx="8640150" cy="965969"/>
          </a:xfrm>
        </p:spPr>
        <p:txBody>
          <a:bodyPr l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528" y="2024752"/>
            <a:ext cx="8640472" cy="1012304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0" y="3219326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0" y="836713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11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97775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098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2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582434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25590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532796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8365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9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06942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55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42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89253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01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8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954881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7803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4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4572000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987193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1019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6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890309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561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49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79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6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86214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941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1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21" name="Straight Connector 20"/>
          <p:cNvCxnSpPr/>
          <p:nvPr/>
        </p:nvCxnSpPr>
        <p:spPr bwMode="gray">
          <a:xfrm>
            <a:off x="467544" y="202195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569141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877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4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180000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162822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220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6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657" y="180000"/>
            <a:ext cx="8784687" cy="649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02108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44984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096995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4030463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668344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491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0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774101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861086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29757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8741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3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414645700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948763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80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138227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93359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796027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87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622101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7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90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536536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92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73843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143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2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890538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94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257081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97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349518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9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59369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3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2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07444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4591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71876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763418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084573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88431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3469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5014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5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4034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18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942144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21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40247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202409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6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9425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28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98893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6" y="179999"/>
            <a:ext cx="8784343" cy="649221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30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859768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33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8619156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5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35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297875434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343064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42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60146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066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922375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77860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25337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0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185359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7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2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315070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4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7301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7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19998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9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565836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2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39300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3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4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8359025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0781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6" y="179999"/>
            <a:ext cx="8784343" cy="649221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7329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7034311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678163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3827072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1706600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730645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46623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1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409060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3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41282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86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814849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88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991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90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09490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234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2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692594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6" y="179999"/>
            <a:ext cx="8784343" cy="649221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93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19741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159903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5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8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338256132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23858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765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3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820619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0822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201685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3181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45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913118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742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47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868578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7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948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50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67659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5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0812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4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341063149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5445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5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702668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3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0884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55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4030465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412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57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567046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9736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59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087042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369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62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1446753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62326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635170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3063729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694527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9361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888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64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79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6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169730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745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7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79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6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078896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0628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69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21" name="Straight Connector 20"/>
          <p:cNvCxnSpPr/>
          <p:nvPr/>
        </p:nvCxnSpPr>
        <p:spPr bwMode="gray">
          <a:xfrm>
            <a:off x="467544" y="202195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15552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6" y="179999"/>
            <a:ext cx="8784343" cy="649221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6007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71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4392488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4392488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80032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373051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157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7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0577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4450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32781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549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76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532520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97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79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7" y="180000"/>
            <a:ext cx="8784687" cy="649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38910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2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8" y="180253"/>
            <a:ext cx="8785226" cy="649287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430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81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243358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10368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522257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0460126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639492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00574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62196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5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3875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83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789040"/>
            <a:ext cx="9144000" cy="252028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41494760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733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2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11177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082626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28768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1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88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6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2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59456"/>
            <a:ext cx="9144000" cy="151768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75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bg1"/>
                </a:solidFill>
              </a:defRPr>
            </a:lvl2pPr>
            <a:lvl3pPr>
              <a:defRPr sz="105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61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044541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3" y="1700810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4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825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56465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4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825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4" y="1062263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18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1861549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0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9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5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31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1" y="1125813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074706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1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93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9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5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5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1" y="1125540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704159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8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95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9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5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5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1" y="1125540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883798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1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98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3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688555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5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00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9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3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1" y="1125540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54520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12215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6"/>
            <a:ext cx="8784000" cy="649749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02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9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3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1" y="1125540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5085608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05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9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3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1" y="1125540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2490826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1" y="177800"/>
            <a:ext cx="8788400" cy="650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07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1446755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62326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635172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3063729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69452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612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1" y="177800"/>
            <a:ext cx="8788400" cy="650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10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85576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81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8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3255916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1" y="177800"/>
            <a:ext cx="8786200" cy="64969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12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85576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81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8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9359369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613" cy="649241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4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180000" y="85576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9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6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21" name="Straight Connector 20"/>
          <p:cNvCxnSpPr/>
          <p:nvPr/>
        </p:nvCxnSpPr>
        <p:spPr bwMode="gray">
          <a:xfrm>
            <a:off x="467544" y="202195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8049711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7" y="180001"/>
            <a:ext cx="8784343" cy="649221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7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4392488" y="3284986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4392488" y="4466830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526187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80032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722114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1" y="177800"/>
            <a:ext cx="8786200" cy="64969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19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6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30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7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5485179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613" cy="649241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22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6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30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7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25950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24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7" y="180000"/>
            <a:ext cx="8784687" cy="649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4572000" y="884339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3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1" y="1125540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82948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2179261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2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9" y="180255"/>
            <a:ext cx="8785226" cy="649287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26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9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3"/>
            <a:ext cx="4392000" cy="96596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1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1" y="1125540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45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3750" dirty="0" smtClean="0"/>
            </a:lvl2pPr>
            <a:lvl3pPr>
              <a:defRPr lang="en-US" sz="3750" dirty="0" smtClean="0"/>
            </a:lvl3pPr>
            <a:lvl4pPr>
              <a:defRPr lang="en-US" sz="3750" dirty="0" smtClean="0"/>
            </a:lvl4pPr>
            <a:lvl5pPr>
              <a:defRPr lang="en-GB" sz="375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7409652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10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1" y="1700810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4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825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275589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10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1" y="1700810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4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825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4" y="1062263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18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830309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2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4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825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4845012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2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4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825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4" y="1062263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18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0713792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4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825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75776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4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825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825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10337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6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29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789040"/>
            <a:ext cx="9144000" cy="252028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9"/>
            <a:ext cx="8784000" cy="60592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05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1541931969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9"/>
            <a:ext cx="8784000" cy="605929"/>
          </a:xfrm>
        </p:spPr>
        <p:txBody>
          <a:bodyPr lIns="252000">
            <a:normAutofit/>
          </a:bodyPr>
          <a:lstStyle>
            <a:lvl1pPr>
              <a:defRPr sz="21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05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63101"/>
            <a:ext cx="2483768" cy="207749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75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bg1"/>
                </a:solidFill>
              </a:defRPr>
            </a:lvl2pPr>
            <a:lvl3pPr>
              <a:defRPr sz="105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2704513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299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00655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183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9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154711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48435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204525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323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102269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347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711320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7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371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575700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395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935069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3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419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1489944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443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800210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467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304306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91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1446753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62326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635170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3063729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694527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972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7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748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8724309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515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79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6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90101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539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79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6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0891560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563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21" name="Straight Connector 20"/>
          <p:cNvCxnSpPr/>
          <p:nvPr/>
        </p:nvCxnSpPr>
        <p:spPr bwMode="gray">
          <a:xfrm>
            <a:off x="467544" y="202195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235749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6" y="179999"/>
            <a:ext cx="8784343" cy="649221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587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4392488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4392488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80032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8028103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611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437907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635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86136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659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7" y="180000"/>
            <a:ext cx="8784687" cy="649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6140090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2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8" y="180253"/>
            <a:ext cx="8785226" cy="649287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683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5194134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632937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26231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5656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4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623915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5480921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73050963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512948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74108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5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707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789040"/>
            <a:ext cx="9144000" cy="252028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161495478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74803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399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6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67191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46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8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8638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47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1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1291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088333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3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0478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3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28841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1035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48770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165721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328314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5576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1426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3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0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52068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362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2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17495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0258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5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87713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49109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77800" y="144457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6031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7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77800" y="261609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7800" y="304465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77800" y="167545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29384" y="261917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5914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330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0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883266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6" y="179999"/>
            <a:ext cx="8784343" cy="649221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782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2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4392488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4392488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644072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5609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5263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4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80000" y="3140968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80000" y="4322812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751371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382169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31584" y="4331196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445608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5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93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7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573016"/>
            <a:ext cx="9144000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28075753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28966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443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4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5690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6354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5241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244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1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021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8579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6879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347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4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56126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7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1146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6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92705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760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8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078451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3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507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1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77453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919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62035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278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6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81566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290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8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1446753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62326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635170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3063729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694527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2291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3085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0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79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6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905391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665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3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 bwMode="gray">
          <a:xfrm>
            <a:off x="180000" y="2044179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72738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103536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6988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5739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5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 bwMode="gray">
          <a:xfrm>
            <a:off x="467544" y="2032273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21" name="Straight Connector 20"/>
          <p:cNvCxnSpPr/>
          <p:nvPr/>
        </p:nvCxnSpPr>
        <p:spPr bwMode="gray">
          <a:xfrm>
            <a:off x="467544" y="2021954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43780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0212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6" y="179999"/>
            <a:ext cx="8784343" cy="649221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402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8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4392488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4392488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2488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92488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80032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665111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4264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0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73911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tal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999" y="180254"/>
            <a:ext cx="8784613" cy="649241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088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2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0000" y="3284984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180000" y="4466828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4895387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3526185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467544" y="4461495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397667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041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5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57" y="180000"/>
            <a:ext cx="8784687" cy="649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806454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2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8" y="180253"/>
            <a:ext cx="8785226" cy="649287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2646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7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63923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1008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16610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453994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386099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1405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03325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38970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b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0"/>
          <a:stretch/>
        </p:blipFill>
        <p:spPr>
          <a:xfrm>
            <a:off x="187785" y="177800"/>
            <a:ext cx="8828513" cy="65024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346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4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789040"/>
            <a:ext cx="9144000" cy="252028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53136"/>
            <a:ext cx="4392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14716595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80000" y="185400"/>
            <a:ext cx="8784000" cy="648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0000" y="4047207"/>
            <a:ext cx="8784000" cy="60592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“Thank you/Disclaimer”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4677200"/>
            <a:ext cx="8784000" cy="1584176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US" sz="1400" dirty="0" smtClean="0">
                <a:solidFill>
                  <a:schemeClr val="tx2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ontact information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660232" y="1543863"/>
            <a:ext cx="2483768" cy="246221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wrap="square" lIns="234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pic>
        <p:nvPicPr>
          <p:cNvPr id="7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836713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547997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ow ris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6200" cy="64969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77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1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3854699"/>
            <a:ext cx="9144000" cy="168056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850" y="4005064"/>
            <a:ext cx="8640150" cy="965969"/>
          </a:xfrm>
        </p:spPr>
        <p:txBody>
          <a:bodyPr lIns="108000" rIns="108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4425080"/>
            <a:ext cx="8640150" cy="1037977"/>
          </a:xfrm>
        </p:spPr>
        <p:txBody>
          <a:bodyPr vert="horz" lIns="108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5627340"/>
            <a:ext cx="9144000" cy="216000"/>
          </a:xfrm>
          <a:solidFill>
            <a:schemeClr val="tx2">
              <a:alpha val="90000"/>
            </a:schemeClr>
          </a:solidFill>
          <a:ln>
            <a:noFill/>
          </a:ln>
        </p:spPr>
        <p:txBody>
          <a:bodyPr lIns="468000" tIns="18000" bIns="1800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Veranstaltung</a:t>
            </a:r>
            <a:r>
              <a:rPr lang="en-US" dirty="0"/>
              <a:t>/Datum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0" y="3237359"/>
            <a:ext cx="9144000" cy="623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9" name="Picture 2" descr="H:\Corporate_Communications\MarketingC\Abteilungsordner\Corporate Identity\Logos\01 Corporate Logos\Deutsche Börse Group_REFRESH\DIN A4\png\DB_DBG2012_REFRESH__RGB_DINA4_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3242120"/>
            <a:ext cx="2376264" cy="61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189175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79512" y="1700808"/>
            <a:ext cx="8784976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5272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r>
              <a:rPr lang="en-US" dirty="0"/>
              <a:t>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157865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428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8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48770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87" y="138002"/>
            <a:ext cx="8784613" cy="649241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10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1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23441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4277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3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0573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734087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or ta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955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6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179512" y="1989138"/>
            <a:ext cx="4572000" cy="194391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79512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512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8736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384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056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6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70373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8229"/>
            <a:ext cx="4392000" cy="1108695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811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0036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1108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8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4"/>
            <a:ext cx="8784000" cy="649749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977333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188640"/>
            <a:ext cx="8798400" cy="649662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817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0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95633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parator hal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253"/>
            <a:ext cx="8784000" cy="649196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56122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3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4572000" y="884337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0" y="2066181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572000" y="2492920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000" y="1125538"/>
            <a:ext cx="396044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4860032" y="206084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241802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7120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48200" y="1700808"/>
            <a:ext cx="4316288" cy="452596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78390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492319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724487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179512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084000" y="1700808"/>
            <a:ext cx="2880000" cy="459245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188913" y="1062261"/>
            <a:ext cx="8775575" cy="935037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400" dirty="0" smtClean="0">
                <a:solidFill>
                  <a:srgbClr val="999999"/>
                </a:solidFill>
                <a:ea typeface="+mj-ea"/>
                <a:cs typeface="+mj-cs"/>
              </a:defRPr>
            </a:lvl1pPr>
            <a:lvl2pPr>
              <a:defRPr lang="en-US" dirty="0" smtClean="0">
                <a:solidFill>
                  <a:srgbClr val="999999"/>
                </a:solidFill>
              </a:defRPr>
            </a:lvl2pPr>
            <a:lvl3pPr>
              <a:defRPr lang="en-US" dirty="0" smtClean="0">
                <a:solidFill>
                  <a:srgbClr val="999999"/>
                </a:solidFill>
              </a:defRPr>
            </a:lvl3pPr>
            <a:lvl4pPr>
              <a:defRPr lang="en-US" dirty="0" smtClean="0">
                <a:solidFill>
                  <a:srgbClr val="999999"/>
                </a:solidFill>
              </a:defRPr>
            </a:lvl4pPr>
            <a:lvl5pPr>
              <a:defRPr lang="en-GB" dirty="0">
                <a:solidFill>
                  <a:srgbClr val="999999"/>
                </a:solidFill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 bwMode="gray">
          <a:xfrm>
            <a:off x="3131756" y="1700808"/>
            <a:ext cx="2880000" cy="4592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9747485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89382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14600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eparator f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800" y="177800"/>
            <a:ext cx="8788400" cy="65024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80000" y="855762"/>
            <a:ext cx="4572000" cy="304871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253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0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ctrTitle"/>
          </p:nvPr>
        </p:nvSpPr>
        <p:spPr bwMode="gray">
          <a:xfrm>
            <a:off x="180000" y="2027287"/>
            <a:ext cx="4392000" cy="965969"/>
          </a:xfrm>
        </p:spPr>
        <p:txBody>
          <a:bodyPr lIns="252000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180000" y="2455846"/>
            <a:ext cx="4392000" cy="1126220"/>
          </a:xfrm>
        </p:spPr>
        <p:txBody>
          <a:bodyPr vert="horz" lIns="252000" tIns="45720" rIns="91440" bIns="45720" rtlCol="0" anchor="t" anchorCtr="0">
            <a:normAutofit/>
          </a:bodyPr>
          <a:lstStyle>
            <a:lvl1pPr>
              <a:defRPr lang="en-GB" sz="2800">
                <a:solidFill>
                  <a:srgbClr val="999999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0000" y="1086644"/>
            <a:ext cx="4392000" cy="935037"/>
          </a:xfrm>
        </p:spPr>
        <p:txBody>
          <a:bodyPr vert="horz" lIns="252000" tIns="45720" rIns="91440" bIns="45720" rtlCol="0" anchor="t" anchorCtr="0">
            <a:noAutofit/>
          </a:bodyPr>
          <a:lstStyle>
            <a:lvl1pPr>
              <a:defRPr lang="en-US" sz="600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en-US" sz="5000" dirty="0" smtClean="0"/>
            </a:lvl2pPr>
            <a:lvl3pPr>
              <a:defRPr lang="en-US" sz="5000" dirty="0" smtClean="0"/>
            </a:lvl3pPr>
            <a:lvl4pPr>
              <a:defRPr lang="en-US" sz="5000" dirty="0" smtClean="0"/>
            </a:lvl4pPr>
            <a:lvl5pPr>
              <a:defRPr lang="en-GB" sz="5000" dirty="0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Number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431584" y="2030368"/>
            <a:ext cx="3960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8500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oleObject" Target="../embeddings/oleObject94.bin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tags" Target="../tags/tag95.xml"/><Relationship Id="rId5" Type="http://schemas.openxmlformats.org/officeDocument/2006/relationships/slideLayout" Target="../slideLayouts/slideLayout161.xml"/><Relationship Id="rId10" Type="http://schemas.openxmlformats.org/officeDocument/2006/relationships/vmlDrawing" Target="../drawings/vmlDrawing94.vml"/><Relationship Id="rId4" Type="http://schemas.openxmlformats.org/officeDocument/2006/relationships/slideLayout" Target="../slideLayouts/slideLayout160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71.xml"/><Relationship Id="rId12" Type="http://schemas.openxmlformats.org/officeDocument/2006/relationships/oleObject" Target="../embeddings/oleObject95.bin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169.xml"/><Relationship Id="rId10" Type="http://schemas.openxmlformats.org/officeDocument/2006/relationships/vmlDrawing" Target="../drawings/vmlDrawing95.vml"/><Relationship Id="rId4" Type="http://schemas.openxmlformats.org/officeDocument/2006/relationships/slideLayout" Target="../slideLayouts/slideLayout168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tags" Target="../tags/tag97.xml"/><Relationship Id="rId5" Type="http://schemas.openxmlformats.org/officeDocument/2006/relationships/slideLayout" Target="../slideLayouts/slideLayout177.xml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176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oleObject" Target="../embeddings/oleObject97.bin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tags" Target="../tags/tag98.xml"/><Relationship Id="rId5" Type="http://schemas.openxmlformats.org/officeDocument/2006/relationships/slideLayout" Target="../slideLayouts/slideLayout185.xml"/><Relationship Id="rId10" Type="http://schemas.openxmlformats.org/officeDocument/2006/relationships/vmlDrawing" Target="../drawings/vmlDrawing97.vml"/><Relationship Id="rId4" Type="http://schemas.openxmlformats.org/officeDocument/2006/relationships/slideLayout" Target="../slideLayouts/slideLayout184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slideLayout" Target="../slideLayouts/slideLayout201.xml"/><Relationship Id="rId18" Type="http://schemas.openxmlformats.org/officeDocument/2006/relationships/slideLayout" Target="../slideLayouts/slideLayout206.xml"/><Relationship Id="rId26" Type="http://schemas.openxmlformats.org/officeDocument/2006/relationships/theme" Target="../theme/theme14.xml"/><Relationship Id="rId3" Type="http://schemas.openxmlformats.org/officeDocument/2006/relationships/slideLayout" Target="../slideLayouts/slideLayout191.xml"/><Relationship Id="rId21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200.xml"/><Relationship Id="rId17" Type="http://schemas.openxmlformats.org/officeDocument/2006/relationships/slideLayout" Target="../slideLayouts/slideLayout205.xml"/><Relationship Id="rId25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190.xml"/><Relationship Id="rId16" Type="http://schemas.openxmlformats.org/officeDocument/2006/relationships/slideLayout" Target="../slideLayouts/slideLayout204.xml"/><Relationship Id="rId20" Type="http://schemas.openxmlformats.org/officeDocument/2006/relationships/slideLayout" Target="../slideLayouts/slideLayout208.xml"/><Relationship Id="rId29" Type="http://schemas.openxmlformats.org/officeDocument/2006/relationships/oleObject" Target="../embeddings/oleObject98.bin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24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193.xml"/><Relationship Id="rId15" Type="http://schemas.openxmlformats.org/officeDocument/2006/relationships/slideLayout" Target="../slideLayouts/slideLayout203.xml"/><Relationship Id="rId23" Type="http://schemas.openxmlformats.org/officeDocument/2006/relationships/slideLayout" Target="../slideLayouts/slideLayout211.xml"/><Relationship Id="rId28" Type="http://schemas.openxmlformats.org/officeDocument/2006/relationships/tags" Target="../tags/tag99.xml"/><Relationship Id="rId10" Type="http://schemas.openxmlformats.org/officeDocument/2006/relationships/slideLayout" Target="../slideLayouts/slideLayout198.xml"/><Relationship Id="rId19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slideLayout" Target="../slideLayouts/slideLayout202.xml"/><Relationship Id="rId22" Type="http://schemas.openxmlformats.org/officeDocument/2006/relationships/slideLayout" Target="../slideLayouts/slideLayout210.xml"/><Relationship Id="rId27" Type="http://schemas.openxmlformats.org/officeDocument/2006/relationships/vmlDrawing" Target="../drawings/vmlDrawing98.vml"/><Relationship Id="rId30" Type="http://schemas.openxmlformats.org/officeDocument/2006/relationships/image" Target="../media/image1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slideLayout" Target="../slideLayouts/slideLayout226.xml"/><Relationship Id="rId18" Type="http://schemas.openxmlformats.org/officeDocument/2006/relationships/slideLayout" Target="../slideLayouts/slideLayout231.xml"/><Relationship Id="rId3" Type="http://schemas.openxmlformats.org/officeDocument/2006/relationships/slideLayout" Target="../slideLayouts/slideLayout216.xml"/><Relationship Id="rId21" Type="http://schemas.openxmlformats.org/officeDocument/2006/relationships/theme" Target="../theme/theme15.xml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17" Type="http://schemas.openxmlformats.org/officeDocument/2006/relationships/slideLayout" Target="../slideLayouts/slideLayout230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15.xml"/><Relationship Id="rId16" Type="http://schemas.openxmlformats.org/officeDocument/2006/relationships/slideLayout" Target="../slideLayouts/slideLayout229.xml"/><Relationship Id="rId20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24" Type="http://schemas.openxmlformats.org/officeDocument/2006/relationships/oleObject" Target="../embeddings/oleObject115.bin"/><Relationship Id="rId5" Type="http://schemas.openxmlformats.org/officeDocument/2006/relationships/slideLayout" Target="../slideLayouts/slideLayout218.xml"/><Relationship Id="rId15" Type="http://schemas.openxmlformats.org/officeDocument/2006/relationships/slideLayout" Target="../slideLayouts/slideLayout228.xml"/><Relationship Id="rId23" Type="http://schemas.openxmlformats.org/officeDocument/2006/relationships/tags" Target="../tags/tag116.xml"/><Relationship Id="rId10" Type="http://schemas.openxmlformats.org/officeDocument/2006/relationships/slideLayout" Target="../slideLayouts/slideLayout223.xml"/><Relationship Id="rId19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slideLayout" Target="../slideLayouts/slideLayout227.xml"/><Relationship Id="rId22" Type="http://schemas.openxmlformats.org/officeDocument/2006/relationships/vmlDrawing" Target="../drawings/vmlDrawing115.v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1.xml"/><Relationship Id="rId13" Type="http://schemas.openxmlformats.org/officeDocument/2006/relationships/slideLayout" Target="../slideLayouts/slideLayout246.xml"/><Relationship Id="rId18" Type="http://schemas.openxmlformats.org/officeDocument/2006/relationships/slideLayout" Target="../slideLayouts/slideLayout251.xml"/><Relationship Id="rId26" Type="http://schemas.openxmlformats.org/officeDocument/2006/relationships/theme" Target="../theme/theme16.xml"/><Relationship Id="rId3" Type="http://schemas.openxmlformats.org/officeDocument/2006/relationships/slideLayout" Target="../slideLayouts/slideLayout236.xml"/><Relationship Id="rId21" Type="http://schemas.openxmlformats.org/officeDocument/2006/relationships/slideLayout" Target="../slideLayouts/slideLayout254.xml"/><Relationship Id="rId7" Type="http://schemas.openxmlformats.org/officeDocument/2006/relationships/slideLayout" Target="../slideLayouts/slideLayout240.xml"/><Relationship Id="rId12" Type="http://schemas.openxmlformats.org/officeDocument/2006/relationships/slideLayout" Target="../slideLayouts/slideLayout245.xml"/><Relationship Id="rId17" Type="http://schemas.openxmlformats.org/officeDocument/2006/relationships/slideLayout" Target="../slideLayouts/slideLayout250.xml"/><Relationship Id="rId25" Type="http://schemas.openxmlformats.org/officeDocument/2006/relationships/slideLayout" Target="../slideLayouts/slideLayout258.xml"/><Relationship Id="rId2" Type="http://schemas.openxmlformats.org/officeDocument/2006/relationships/slideLayout" Target="../slideLayouts/slideLayout235.xml"/><Relationship Id="rId16" Type="http://schemas.openxmlformats.org/officeDocument/2006/relationships/slideLayout" Target="../slideLayouts/slideLayout249.xml"/><Relationship Id="rId20" Type="http://schemas.openxmlformats.org/officeDocument/2006/relationships/slideLayout" Target="../slideLayouts/slideLayout253.xml"/><Relationship Id="rId29" Type="http://schemas.openxmlformats.org/officeDocument/2006/relationships/oleObject" Target="../embeddings/oleObject127.bin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slideLayout" Target="../slideLayouts/slideLayout244.xml"/><Relationship Id="rId24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38.xml"/><Relationship Id="rId15" Type="http://schemas.openxmlformats.org/officeDocument/2006/relationships/slideLayout" Target="../slideLayouts/slideLayout248.xml"/><Relationship Id="rId23" Type="http://schemas.openxmlformats.org/officeDocument/2006/relationships/slideLayout" Target="../slideLayouts/slideLayout256.xml"/><Relationship Id="rId28" Type="http://schemas.openxmlformats.org/officeDocument/2006/relationships/tags" Target="../tags/tag128.xml"/><Relationship Id="rId10" Type="http://schemas.openxmlformats.org/officeDocument/2006/relationships/slideLayout" Target="../slideLayouts/slideLayout243.xml"/><Relationship Id="rId19" Type="http://schemas.openxmlformats.org/officeDocument/2006/relationships/slideLayout" Target="../slideLayouts/slideLayout252.xml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Relationship Id="rId14" Type="http://schemas.openxmlformats.org/officeDocument/2006/relationships/slideLayout" Target="../slideLayouts/slideLayout247.xml"/><Relationship Id="rId22" Type="http://schemas.openxmlformats.org/officeDocument/2006/relationships/slideLayout" Target="../slideLayouts/slideLayout255.xml"/><Relationship Id="rId27" Type="http://schemas.openxmlformats.org/officeDocument/2006/relationships/vmlDrawing" Target="../drawings/vmlDrawing127.vml"/><Relationship Id="rId30" Type="http://schemas.openxmlformats.org/officeDocument/2006/relationships/image" Target="../media/image1.emf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6.xml"/><Relationship Id="rId13" Type="http://schemas.openxmlformats.org/officeDocument/2006/relationships/slideLayout" Target="../slideLayouts/slideLayout271.xml"/><Relationship Id="rId18" Type="http://schemas.openxmlformats.org/officeDocument/2006/relationships/slideLayout" Target="../slideLayouts/slideLayout276.xml"/><Relationship Id="rId26" Type="http://schemas.openxmlformats.org/officeDocument/2006/relationships/theme" Target="../theme/theme17.xml"/><Relationship Id="rId3" Type="http://schemas.openxmlformats.org/officeDocument/2006/relationships/slideLayout" Target="../slideLayouts/slideLayout261.xml"/><Relationship Id="rId21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65.xml"/><Relationship Id="rId12" Type="http://schemas.openxmlformats.org/officeDocument/2006/relationships/slideLayout" Target="../slideLayouts/slideLayout270.xml"/><Relationship Id="rId17" Type="http://schemas.openxmlformats.org/officeDocument/2006/relationships/slideLayout" Target="../slideLayouts/slideLayout275.xml"/><Relationship Id="rId25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60.xml"/><Relationship Id="rId16" Type="http://schemas.openxmlformats.org/officeDocument/2006/relationships/slideLayout" Target="../slideLayouts/slideLayout274.xml"/><Relationship Id="rId20" Type="http://schemas.openxmlformats.org/officeDocument/2006/relationships/slideLayout" Target="../slideLayouts/slideLayout278.xml"/><Relationship Id="rId29" Type="http://schemas.openxmlformats.org/officeDocument/2006/relationships/oleObject" Target="../embeddings/oleObject144.bin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1" Type="http://schemas.openxmlformats.org/officeDocument/2006/relationships/slideLayout" Target="../slideLayouts/slideLayout269.xml"/><Relationship Id="rId24" Type="http://schemas.openxmlformats.org/officeDocument/2006/relationships/slideLayout" Target="../slideLayouts/slideLayout282.xml"/><Relationship Id="rId5" Type="http://schemas.openxmlformats.org/officeDocument/2006/relationships/slideLayout" Target="../slideLayouts/slideLayout263.xml"/><Relationship Id="rId15" Type="http://schemas.openxmlformats.org/officeDocument/2006/relationships/slideLayout" Target="../slideLayouts/slideLayout273.xml"/><Relationship Id="rId23" Type="http://schemas.openxmlformats.org/officeDocument/2006/relationships/slideLayout" Target="../slideLayouts/slideLayout281.xml"/><Relationship Id="rId28" Type="http://schemas.openxmlformats.org/officeDocument/2006/relationships/tags" Target="../tags/tag145.xml"/><Relationship Id="rId10" Type="http://schemas.openxmlformats.org/officeDocument/2006/relationships/slideLayout" Target="../slideLayouts/slideLayout268.xml"/><Relationship Id="rId19" Type="http://schemas.openxmlformats.org/officeDocument/2006/relationships/slideLayout" Target="../slideLayouts/slideLayout277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4" Type="http://schemas.openxmlformats.org/officeDocument/2006/relationships/slideLayout" Target="../slideLayouts/slideLayout272.xml"/><Relationship Id="rId22" Type="http://schemas.openxmlformats.org/officeDocument/2006/relationships/slideLayout" Target="../slideLayouts/slideLayout280.xml"/><Relationship Id="rId27" Type="http://schemas.openxmlformats.org/officeDocument/2006/relationships/vmlDrawing" Target="../drawings/vmlDrawing144.vml"/><Relationship Id="rId30" Type="http://schemas.openxmlformats.org/officeDocument/2006/relationships/image" Target="../media/image1.e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slideLayout" Target="../slideLayouts/slideLayout301.xml"/><Relationship Id="rId26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slideLayout" Target="../slideLayouts/slideLayout300.xml"/><Relationship Id="rId25" Type="http://schemas.openxmlformats.org/officeDocument/2006/relationships/slideLayout" Target="../slideLayouts/slideLayout308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303.xml"/><Relationship Id="rId29" Type="http://schemas.openxmlformats.org/officeDocument/2006/relationships/theme" Target="../theme/theme18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24" Type="http://schemas.openxmlformats.org/officeDocument/2006/relationships/slideLayout" Target="../slideLayouts/slideLayout307.xml"/><Relationship Id="rId32" Type="http://schemas.openxmlformats.org/officeDocument/2006/relationships/oleObject" Target="../embeddings/oleObject161.bin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23" Type="http://schemas.openxmlformats.org/officeDocument/2006/relationships/slideLayout" Target="../slideLayouts/slideLayout306.xml"/><Relationship Id="rId28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293.xml"/><Relationship Id="rId19" Type="http://schemas.openxmlformats.org/officeDocument/2006/relationships/slideLayout" Target="../slideLayouts/slideLayout302.xml"/><Relationship Id="rId31" Type="http://schemas.openxmlformats.org/officeDocument/2006/relationships/tags" Target="../tags/tag162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Relationship Id="rId22" Type="http://schemas.openxmlformats.org/officeDocument/2006/relationships/slideLayout" Target="../slideLayouts/slideLayout305.xml"/><Relationship Id="rId27" Type="http://schemas.openxmlformats.org/officeDocument/2006/relationships/slideLayout" Target="../slideLayouts/slideLayout310.xml"/><Relationship Id="rId30" Type="http://schemas.openxmlformats.org/officeDocument/2006/relationships/vmlDrawing" Target="../drawings/vmlDrawing161.v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9.xml"/><Relationship Id="rId13" Type="http://schemas.openxmlformats.org/officeDocument/2006/relationships/slideLayout" Target="../slideLayouts/slideLayout324.xml"/><Relationship Id="rId18" Type="http://schemas.openxmlformats.org/officeDocument/2006/relationships/slideLayout" Target="../slideLayouts/slideLayout329.xml"/><Relationship Id="rId26" Type="http://schemas.openxmlformats.org/officeDocument/2006/relationships/slideLayout" Target="../slideLayouts/slideLayout337.xml"/><Relationship Id="rId3" Type="http://schemas.openxmlformats.org/officeDocument/2006/relationships/slideLayout" Target="../slideLayouts/slideLayout314.xml"/><Relationship Id="rId21" Type="http://schemas.openxmlformats.org/officeDocument/2006/relationships/slideLayout" Target="../slideLayouts/slideLayout332.xml"/><Relationship Id="rId7" Type="http://schemas.openxmlformats.org/officeDocument/2006/relationships/slideLayout" Target="../slideLayouts/slideLayout318.xml"/><Relationship Id="rId12" Type="http://schemas.openxmlformats.org/officeDocument/2006/relationships/slideLayout" Target="../slideLayouts/slideLayout323.xml"/><Relationship Id="rId17" Type="http://schemas.openxmlformats.org/officeDocument/2006/relationships/slideLayout" Target="../slideLayouts/slideLayout328.xml"/><Relationship Id="rId25" Type="http://schemas.openxmlformats.org/officeDocument/2006/relationships/slideLayout" Target="../slideLayouts/slideLayout336.xml"/><Relationship Id="rId2" Type="http://schemas.openxmlformats.org/officeDocument/2006/relationships/slideLayout" Target="../slideLayouts/slideLayout313.xml"/><Relationship Id="rId16" Type="http://schemas.openxmlformats.org/officeDocument/2006/relationships/slideLayout" Target="../slideLayouts/slideLayout327.xml"/><Relationship Id="rId20" Type="http://schemas.openxmlformats.org/officeDocument/2006/relationships/slideLayout" Target="../slideLayouts/slideLayout331.xml"/><Relationship Id="rId29" Type="http://schemas.openxmlformats.org/officeDocument/2006/relationships/vmlDrawing" Target="../drawings/vmlDrawing180.v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24" Type="http://schemas.openxmlformats.org/officeDocument/2006/relationships/slideLayout" Target="../slideLayouts/slideLayout335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316.xml"/><Relationship Id="rId15" Type="http://schemas.openxmlformats.org/officeDocument/2006/relationships/slideLayout" Target="../slideLayouts/slideLayout326.xml"/><Relationship Id="rId23" Type="http://schemas.openxmlformats.org/officeDocument/2006/relationships/slideLayout" Target="../slideLayouts/slideLayout334.xml"/><Relationship Id="rId28" Type="http://schemas.openxmlformats.org/officeDocument/2006/relationships/theme" Target="../theme/theme19.xml"/><Relationship Id="rId10" Type="http://schemas.openxmlformats.org/officeDocument/2006/relationships/slideLayout" Target="../slideLayouts/slideLayout321.xml"/><Relationship Id="rId19" Type="http://schemas.openxmlformats.org/officeDocument/2006/relationships/slideLayout" Target="../slideLayouts/slideLayout330.xml"/><Relationship Id="rId31" Type="http://schemas.openxmlformats.org/officeDocument/2006/relationships/oleObject" Target="../embeddings/oleObject180.bin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Relationship Id="rId14" Type="http://schemas.openxmlformats.org/officeDocument/2006/relationships/slideLayout" Target="../slideLayouts/slideLayout325.xml"/><Relationship Id="rId22" Type="http://schemas.openxmlformats.org/officeDocument/2006/relationships/slideLayout" Target="../slideLayouts/slideLayout333.xml"/><Relationship Id="rId27" Type="http://schemas.openxmlformats.org/officeDocument/2006/relationships/slideLayout" Target="../slideLayouts/slideLayout338.xml"/><Relationship Id="rId30" Type="http://schemas.openxmlformats.org/officeDocument/2006/relationships/tags" Target="../tags/tag18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tags" Target="../tags/tag5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vmlDrawing" Target="../drawings/vmlDrawing4.vml"/><Relationship Id="rId30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6.xml"/><Relationship Id="rId13" Type="http://schemas.openxmlformats.org/officeDocument/2006/relationships/slideLayout" Target="../slideLayouts/slideLayout351.xml"/><Relationship Id="rId18" Type="http://schemas.openxmlformats.org/officeDocument/2006/relationships/slideLayout" Target="../slideLayouts/slideLayout356.xml"/><Relationship Id="rId26" Type="http://schemas.openxmlformats.org/officeDocument/2006/relationships/slideLayout" Target="../slideLayouts/slideLayout364.xml"/><Relationship Id="rId3" Type="http://schemas.openxmlformats.org/officeDocument/2006/relationships/slideLayout" Target="../slideLayouts/slideLayout341.xml"/><Relationship Id="rId21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345.xml"/><Relationship Id="rId12" Type="http://schemas.openxmlformats.org/officeDocument/2006/relationships/slideLayout" Target="../slideLayouts/slideLayout350.xml"/><Relationship Id="rId17" Type="http://schemas.openxmlformats.org/officeDocument/2006/relationships/slideLayout" Target="../slideLayouts/slideLayout355.xml"/><Relationship Id="rId25" Type="http://schemas.openxmlformats.org/officeDocument/2006/relationships/slideLayout" Target="../slideLayouts/slideLayout363.xml"/><Relationship Id="rId2" Type="http://schemas.openxmlformats.org/officeDocument/2006/relationships/slideLayout" Target="../slideLayouts/slideLayout340.xml"/><Relationship Id="rId16" Type="http://schemas.openxmlformats.org/officeDocument/2006/relationships/slideLayout" Target="../slideLayouts/slideLayout354.xml"/><Relationship Id="rId20" Type="http://schemas.openxmlformats.org/officeDocument/2006/relationships/slideLayout" Target="../slideLayouts/slideLayout358.xml"/><Relationship Id="rId29" Type="http://schemas.openxmlformats.org/officeDocument/2006/relationships/vmlDrawing" Target="../drawings/vmlDrawing199.vml"/><Relationship Id="rId1" Type="http://schemas.openxmlformats.org/officeDocument/2006/relationships/slideLayout" Target="../slideLayouts/slideLayout339.xml"/><Relationship Id="rId6" Type="http://schemas.openxmlformats.org/officeDocument/2006/relationships/slideLayout" Target="../slideLayouts/slideLayout344.xml"/><Relationship Id="rId11" Type="http://schemas.openxmlformats.org/officeDocument/2006/relationships/slideLayout" Target="../slideLayouts/slideLayout349.xml"/><Relationship Id="rId24" Type="http://schemas.openxmlformats.org/officeDocument/2006/relationships/slideLayout" Target="../slideLayouts/slideLayout362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343.xml"/><Relationship Id="rId15" Type="http://schemas.openxmlformats.org/officeDocument/2006/relationships/slideLayout" Target="../slideLayouts/slideLayout353.xml"/><Relationship Id="rId23" Type="http://schemas.openxmlformats.org/officeDocument/2006/relationships/slideLayout" Target="../slideLayouts/slideLayout361.xml"/><Relationship Id="rId28" Type="http://schemas.openxmlformats.org/officeDocument/2006/relationships/theme" Target="../theme/theme20.xml"/><Relationship Id="rId10" Type="http://schemas.openxmlformats.org/officeDocument/2006/relationships/slideLayout" Target="../slideLayouts/slideLayout348.xml"/><Relationship Id="rId19" Type="http://schemas.openxmlformats.org/officeDocument/2006/relationships/slideLayout" Target="../slideLayouts/slideLayout357.xml"/><Relationship Id="rId31" Type="http://schemas.openxmlformats.org/officeDocument/2006/relationships/oleObject" Target="../embeddings/oleObject199.bin"/><Relationship Id="rId4" Type="http://schemas.openxmlformats.org/officeDocument/2006/relationships/slideLayout" Target="../slideLayouts/slideLayout342.xml"/><Relationship Id="rId9" Type="http://schemas.openxmlformats.org/officeDocument/2006/relationships/slideLayout" Target="../slideLayouts/slideLayout347.xml"/><Relationship Id="rId14" Type="http://schemas.openxmlformats.org/officeDocument/2006/relationships/slideLayout" Target="../slideLayouts/slideLayout352.xml"/><Relationship Id="rId22" Type="http://schemas.openxmlformats.org/officeDocument/2006/relationships/slideLayout" Target="../slideLayouts/slideLayout360.xml"/><Relationship Id="rId27" Type="http://schemas.openxmlformats.org/officeDocument/2006/relationships/slideLayout" Target="../slideLayouts/slideLayout365.xml"/><Relationship Id="rId30" Type="http://schemas.openxmlformats.org/officeDocument/2006/relationships/tags" Target="../tags/tag20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oleObject" Target="../embeddings/oleObject21.bin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tags" Target="../tags/tag22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vmlDrawing" Target="../drawings/vmlDrawing21.vml"/><Relationship Id="rId30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vmlDrawing" Target="../drawings/vmlDrawing38.v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oleObject" Target="../embeddings/oleObject38.bin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tags" Target="../tags/tag3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102.xml"/><Relationship Id="rId29" Type="http://schemas.openxmlformats.org/officeDocument/2006/relationships/oleObject" Target="../embeddings/oleObject57.bin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slideLayout" Target="../slideLayouts/slideLayout105.xml"/><Relationship Id="rId28" Type="http://schemas.openxmlformats.org/officeDocument/2006/relationships/tags" Target="../tags/tag58.xml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Relationship Id="rId27" Type="http://schemas.openxmlformats.org/officeDocument/2006/relationships/vmlDrawing" Target="../drawings/vmlDrawing57.vml"/><Relationship Id="rId30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29" Type="http://schemas.openxmlformats.org/officeDocument/2006/relationships/oleObject" Target="../embeddings/oleObject74.bin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0.xml"/><Relationship Id="rId28" Type="http://schemas.openxmlformats.org/officeDocument/2006/relationships/tags" Target="../tags/tag75.xml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Relationship Id="rId27" Type="http://schemas.openxmlformats.org/officeDocument/2006/relationships/vmlDrawing" Target="../drawings/vmlDrawing74.vml"/><Relationship Id="rId30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oleObject" Target="../embeddings/oleObject91.bin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tags" Target="../tags/tag92.xml"/><Relationship Id="rId5" Type="http://schemas.openxmlformats.org/officeDocument/2006/relationships/slideLayout" Target="../slideLayouts/slideLayout137.xml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136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oleObject" Target="../embeddings/oleObject92.bin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tags" Target="../tags/tag93.xml"/><Relationship Id="rId5" Type="http://schemas.openxmlformats.org/officeDocument/2006/relationships/slideLayout" Target="../slideLayouts/slideLayout145.xml"/><Relationship Id="rId10" Type="http://schemas.openxmlformats.org/officeDocument/2006/relationships/vmlDrawing" Target="../drawings/vmlDrawing92.vml"/><Relationship Id="rId4" Type="http://schemas.openxmlformats.org/officeDocument/2006/relationships/slideLayout" Target="../slideLayouts/slideLayout144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oleObject" Target="../embeddings/oleObject93.bin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tags" Target="../tags/tag94.xml"/><Relationship Id="rId5" Type="http://schemas.openxmlformats.org/officeDocument/2006/relationships/slideLayout" Target="../slideLayouts/slideLayout153.xml"/><Relationship Id="rId10" Type="http://schemas.openxmlformats.org/officeDocument/2006/relationships/vmlDrawing" Target="../drawings/vmlDrawing93.vml"/><Relationship Id="rId4" Type="http://schemas.openxmlformats.org/officeDocument/2006/relationships/slideLayout" Target="../slideLayouts/slideLayout152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186087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" name="think-cell Slide" r:id="rId9" imgW="286" imgH="286" progId="TCLayout.ActiveDocument.1">
                  <p:embed/>
                </p:oleObj>
              </mc:Choice>
              <mc:Fallback>
                <p:oleObj name="think-cell Slide" r:id="rId9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chemeClr val="tx1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chemeClr val="tx1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057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4478" r:id="rId2"/>
    <p:sldLayoutId id="2147483795" r:id="rId3"/>
    <p:sldLayoutId id="2147483797" r:id="rId4"/>
    <p:sldLayoutId id="2147483799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08103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89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416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3" r:id="rId1"/>
    <p:sldLayoutId id="2147484644" r:id="rId2"/>
    <p:sldLayoutId id="2147484645" r:id="rId3"/>
    <p:sldLayoutId id="2147484646" r:id="rId4"/>
    <p:sldLayoutId id="2147484647" r:id="rId5"/>
    <p:sldLayoutId id="2147484648" r:id="rId6"/>
    <p:sldLayoutId id="2147484649" r:id="rId7"/>
    <p:sldLayoutId id="2147484650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12521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05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309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2" r:id="rId1"/>
    <p:sldLayoutId id="2147484653" r:id="rId2"/>
    <p:sldLayoutId id="2147484654" r:id="rId3"/>
    <p:sldLayoutId id="2147484655" r:id="rId4"/>
    <p:sldLayoutId id="2147484656" r:id="rId5"/>
    <p:sldLayoutId id="2147484657" r:id="rId6"/>
    <p:sldLayoutId id="2147484658" r:id="rId7"/>
    <p:sldLayoutId id="2147484659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52379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21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7153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1" r:id="rId1"/>
    <p:sldLayoutId id="2147484662" r:id="rId2"/>
    <p:sldLayoutId id="2147484663" r:id="rId3"/>
    <p:sldLayoutId id="2147484664" r:id="rId4"/>
    <p:sldLayoutId id="2147484665" r:id="rId5"/>
    <p:sldLayoutId id="2147484666" r:id="rId6"/>
    <p:sldLayoutId id="2147484667" r:id="rId7"/>
    <p:sldLayoutId id="2147484668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21909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37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76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0" r:id="rId1"/>
    <p:sldLayoutId id="2147484671" r:id="rId2"/>
    <p:sldLayoutId id="2147484672" r:id="rId3"/>
    <p:sldLayoutId id="2147484673" r:id="rId4"/>
    <p:sldLayoutId id="2147484674" r:id="rId5"/>
    <p:sldLayoutId id="2147484675" r:id="rId6"/>
    <p:sldLayoutId id="2147484676" r:id="rId7"/>
    <p:sldLayoutId id="2147484677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262564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53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083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9" r:id="rId1"/>
    <p:sldLayoutId id="2147484680" r:id="rId2"/>
    <p:sldLayoutId id="2147484681" r:id="rId3"/>
    <p:sldLayoutId id="2147484682" r:id="rId4"/>
    <p:sldLayoutId id="2147484683" r:id="rId5"/>
    <p:sldLayoutId id="2147484684" r:id="rId6"/>
    <p:sldLayoutId id="2147484685" r:id="rId7"/>
    <p:sldLayoutId id="2147484686" r:id="rId8"/>
    <p:sldLayoutId id="2147484687" r:id="rId9"/>
    <p:sldLayoutId id="2147484688" r:id="rId10"/>
    <p:sldLayoutId id="2147484689" r:id="rId11"/>
    <p:sldLayoutId id="2147484690" r:id="rId12"/>
    <p:sldLayoutId id="2147484691" r:id="rId13"/>
    <p:sldLayoutId id="2147484692" r:id="rId14"/>
    <p:sldLayoutId id="2147484693" r:id="rId15"/>
    <p:sldLayoutId id="2147484694" r:id="rId16"/>
    <p:sldLayoutId id="2147484695" r:id="rId17"/>
    <p:sldLayoutId id="2147484696" r:id="rId18"/>
    <p:sldLayoutId id="2147484697" r:id="rId19"/>
    <p:sldLayoutId id="2147484698" r:id="rId20"/>
    <p:sldLayoutId id="2147484699" r:id="rId21"/>
    <p:sldLayoutId id="2147484700" r:id="rId22"/>
    <p:sldLayoutId id="2147484701" r:id="rId23"/>
    <p:sldLayoutId id="2147484702" r:id="rId24"/>
    <p:sldLayoutId id="2147484703" r:id="rId2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537965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77" name="think-cell Slide" r:id="rId24" imgW="286" imgH="286" progId="TCLayout.ActiveDocument.1">
                  <p:embed/>
                </p:oleObj>
              </mc:Choice>
              <mc:Fallback>
                <p:oleObj name="think-cell Slide" r:id="rId24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7085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5" r:id="rId1"/>
    <p:sldLayoutId id="2147484706" r:id="rId2"/>
    <p:sldLayoutId id="2147484707" r:id="rId3"/>
    <p:sldLayoutId id="2147484708" r:id="rId4"/>
    <p:sldLayoutId id="2147484709" r:id="rId5"/>
    <p:sldLayoutId id="2147484710" r:id="rId6"/>
    <p:sldLayoutId id="2147484711" r:id="rId7"/>
    <p:sldLayoutId id="2147484712" r:id="rId8"/>
    <p:sldLayoutId id="2147484713" r:id="rId9"/>
    <p:sldLayoutId id="2147484714" r:id="rId10"/>
    <p:sldLayoutId id="2147484715" r:id="rId11"/>
    <p:sldLayoutId id="2147484716" r:id="rId12"/>
    <p:sldLayoutId id="2147484717" r:id="rId13"/>
    <p:sldLayoutId id="2147484718" r:id="rId14"/>
    <p:sldLayoutId id="2147484719" r:id="rId15"/>
    <p:sldLayoutId id="2147484720" r:id="rId16"/>
    <p:sldLayoutId id="2147484721" r:id="rId17"/>
    <p:sldLayoutId id="2147484722" r:id="rId18"/>
    <p:sldLayoutId id="2147484723" r:id="rId19"/>
    <p:sldLayoutId id="2147484724" r:id="rId2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81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chemeClr val="tx1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chemeClr val="tx1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443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6" r:id="rId1"/>
    <p:sldLayoutId id="2147484727" r:id="rId2"/>
    <p:sldLayoutId id="2147484728" r:id="rId3"/>
    <p:sldLayoutId id="2147484729" r:id="rId4"/>
    <p:sldLayoutId id="2147484730" r:id="rId5"/>
    <p:sldLayoutId id="2147484731" r:id="rId6"/>
    <p:sldLayoutId id="2147484732" r:id="rId7"/>
    <p:sldLayoutId id="2147484733" r:id="rId8"/>
    <p:sldLayoutId id="2147484734" r:id="rId9"/>
    <p:sldLayoutId id="2147484735" r:id="rId10"/>
    <p:sldLayoutId id="2147484736" r:id="rId11"/>
    <p:sldLayoutId id="2147484737" r:id="rId12"/>
    <p:sldLayoutId id="2147484738" r:id="rId13"/>
    <p:sldLayoutId id="2147484739" r:id="rId14"/>
    <p:sldLayoutId id="2147484740" r:id="rId15"/>
    <p:sldLayoutId id="2147484741" r:id="rId16"/>
    <p:sldLayoutId id="2147484742" r:id="rId17"/>
    <p:sldLayoutId id="2147484743" r:id="rId18"/>
    <p:sldLayoutId id="2147484744" r:id="rId19"/>
    <p:sldLayoutId id="2147484745" r:id="rId20"/>
    <p:sldLayoutId id="2147484746" r:id="rId21"/>
    <p:sldLayoutId id="2147484747" r:id="rId22"/>
    <p:sldLayoutId id="2147484748" r:id="rId23"/>
    <p:sldLayoutId id="2147484749" r:id="rId24"/>
    <p:sldLayoutId id="2147484750" r:id="rId2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405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9634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2" r:id="rId1"/>
    <p:sldLayoutId id="2147484753" r:id="rId2"/>
    <p:sldLayoutId id="2147484754" r:id="rId3"/>
    <p:sldLayoutId id="2147484755" r:id="rId4"/>
    <p:sldLayoutId id="2147484756" r:id="rId5"/>
    <p:sldLayoutId id="2147484757" r:id="rId6"/>
    <p:sldLayoutId id="2147484758" r:id="rId7"/>
    <p:sldLayoutId id="2147484759" r:id="rId8"/>
    <p:sldLayoutId id="2147484760" r:id="rId9"/>
    <p:sldLayoutId id="2147484761" r:id="rId10"/>
    <p:sldLayoutId id="2147484762" r:id="rId11"/>
    <p:sldLayoutId id="2147484763" r:id="rId12"/>
    <p:sldLayoutId id="2147484764" r:id="rId13"/>
    <p:sldLayoutId id="2147484765" r:id="rId14"/>
    <p:sldLayoutId id="2147484766" r:id="rId15"/>
    <p:sldLayoutId id="2147484767" r:id="rId16"/>
    <p:sldLayoutId id="2147484768" r:id="rId17"/>
    <p:sldLayoutId id="2147484769" r:id="rId18"/>
    <p:sldLayoutId id="2147484770" r:id="rId19"/>
    <p:sldLayoutId id="2147484771" r:id="rId20"/>
    <p:sldLayoutId id="2147484772" r:id="rId21"/>
    <p:sldLayoutId id="2147484773" r:id="rId22"/>
    <p:sldLayoutId id="2147484774" r:id="rId23"/>
    <p:sldLayoutId id="2147484775" r:id="rId24"/>
    <p:sldLayoutId id="2147484776" r:id="rId2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56547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406" name="think-cell Slide" r:id="rId32" imgW="286" imgH="286" progId="TCLayout.ActiveDocument.1">
                  <p:embed/>
                </p:oleObj>
              </mc:Choice>
              <mc:Fallback>
                <p:oleObj name="think-cell Slide" r:id="rId32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chemeClr val="tx1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chemeClr val="tx1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728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8" r:id="rId1"/>
    <p:sldLayoutId id="2147484779" r:id="rId2"/>
    <p:sldLayoutId id="2147484780" r:id="rId3"/>
    <p:sldLayoutId id="2147484781" r:id="rId4"/>
    <p:sldLayoutId id="2147484782" r:id="rId5"/>
    <p:sldLayoutId id="2147484783" r:id="rId6"/>
    <p:sldLayoutId id="2147484784" r:id="rId7"/>
    <p:sldLayoutId id="2147484785" r:id="rId8"/>
    <p:sldLayoutId id="2147484786" r:id="rId9"/>
    <p:sldLayoutId id="2147484787" r:id="rId10"/>
    <p:sldLayoutId id="2147484788" r:id="rId11"/>
    <p:sldLayoutId id="2147484789" r:id="rId12"/>
    <p:sldLayoutId id="2147484790" r:id="rId13"/>
    <p:sldLayoutId id="2147484791" r:id="rId14"/>
    <p:sldLayoutId id="2147484792" r:id="rId15"/>
    <p:sldLayoutId id="2147484793" r:id="rId16"/>
    <p:sldLayoutId id="2147484794" r:id="rId17"/>
    <p:sldLayoutId id="2147484795" r:id="rId18"/>
    <p:sldLayoutId id="2147484796" r:id="rId19"/>
    <p:sldLayoutId id="2147484797" r:id="rId20"/>
    <p:sldLayoutId id="2147484798" r:id="rId21"/>
    <p:sldLayoutId id="2147484799" r:id="rId22"/>
    <p:sldLayoutId id="2147484800" r:id="rId23"/>
    <p:sldLayoutId id="2147484801" r:id="rId24"/>
    <p:sldLayoutId id="2147484802" r:id="rId25"/>
    <p:sldLayoutId id="2147484803" r:id="rId26"/>
    <p:sldLayoutId id="2147484804" r:id="rId27"/>
    <p:sldLayoutId id="2147484862" r:id="rId2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0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860" name="think-cell Slide" r:id="rId31" imgW="286" imgH="286" progId="TCLayout.ActiveDocument.1">
                  <p:embed/>
                </p:oleObj>
              </mc:Choice>
              <mc:Fallback>
                <p:oleObj name="think-cell Slide" r:id="rId31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2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3" y="1700810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4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en-GB" sz="825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9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9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schemeClr val="tx1"/>
                </a:solidFill>
                <a:latin typeface="Arial" pitchFamily="34" charset="0"/>
              </a:rPr>
              <a:t>125/205/255</a:t>
            </a:r>
            <a:endParaRPr lang="en-GB" sz="9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9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9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9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9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34290" rIns="2700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schemeClr val="tx1"/>
                </a:solidFill>
                <a:latin typeface="Arial" pitchFamily="34" charset="0"/>
              </a:rPr>
              <a:t>145/145/145</a:t>
            </a:r>
            <a:endParaRPr lang="en-GB" sz="9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9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9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9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9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825"/>
              </a:lnSpc>
            </a:pPr>
            <a:r>
              <a:rPr lang="de-DE" sz="9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9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232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6" r:id="rId1"/>
    <p:sldLayoutId id="2147484807" r:id="rId2"/>
    <p:sldLayoutId id="2147484808" r:id="rId3"/>
    <p:sldLayoutId id="2147484809" r:id="rId4"/>
    <p:sldLayoutId id="2147484810" r:id="rId5"/>
    <p:sldLayoutId id="2147484811" r:id="rId6"/>
    <p:sldLayoutId id="2147484812" r:id="rId7"/>
    <p:sldLayoutId id="2147484813" r:id="rId8"/>
    <p:sldLayoutId id="2147484814" r:id="rId9"/>
    <p:sldLayoutId id="2147484815" r:id="rId10"/>
    <p:sldLayoutId id="2147484816" r:id="rId11"/>
    <p:sldLayoutId id="2147484817" r:id="rId12"/>
    <p:sldLayoutId id="2147484818" r:id="rId13"/>
    <p:sldLayoutId id="2147484819" r:id="rId14"/>
    <p:sldLayoutId id="2147484820" r:id="rId15"/>
    <p:sldLayoutId id="2147484821" r:id="rId16"/>
    <p:sldLayoutId id="2147484822" r:id="rId17"/>
    <p:sldLayoutId id="2147484823" r:id="rId18"/>
    <p:sldLayoutId id="2147484824" r:id="rId19"/>
    <p:sldLayoutId id="2147484825" r:id="rId20"/>
    <p:sldLayoutId id="2147484826" r:id="rId21"/>
    <p:sldLayoutId id="2147484827" r:id="rId22"/>
    <p:sldLayoutId id="2147484828" r:id="rId23"/>
    <p:sldLayoutId id="2147484829" r:id="rId24"/>
    <p:sldLayoutId id="2147484830" r:id="rId25"/>
    <p:sldLayoutId id="2147484831" r:id="rId26"/>
    <p:sldLayoutId id="2147484832" r:id="rId27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18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450"/>
        </a:spcAft>
        <a:buFont typeface="Arial" pitchFamily="34" charset="0"/>
        <a:buNone/>
        <a:defRPr sz="12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0"/>
        </a:spcBef>
        <a:spcAft>
          <a:spcPts val="450"/>
        </a:spcAft>
        <a:buSzPct val="100000"/>
        <a:buFont typeface="Wingdings" pitchFamily="2" charset="2"/>
        <a:buChar char="§"/>
        <a:defRPr sz="12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0"/>
        </a:spcBef>
        <a:spcAft>
          <a:spcPts val="450"/>
        </a:spcAft>
        <a:buSzPct val="80000"/>
        <a:buFont typeface="Wingdings" pitchFamily="2" charset="2"/>
        <a:buChar char="§"/>
        <a:defRPr sz="12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0"/>
        </a:spcBef>
        <a:spcAft>
          <a:spcPts val="450"/>
        </a:spcAft>
        <a:buFont typeface="Arial" pitchFamily="34" charset="0"/>
        <a:buChar char="–"/>
        <a:defRPr sz="12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892489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73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5539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4" r:id="rId1"/>
    <p:sldLayoutId id="2147484485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3" r:id="rId10"/>
    <p:sldLayoutId id="2147484494" r:id="rId11"/>
    <p:sldLayoutId id="2147484495" r:id="rId12"/>
    <p:sldLayoutId id="2147484496" r:id="rId13"/>
    <p:sldLayoutId id="2147484497" r:id="rId14"/>
    <p:sldLayoutId id="2147484498" r:id="rId15"/>
    <p:sldLayoutId id="2147484499" r:id="rId16"/>
    <p:sldLayoutId id="2147484500" r:id="rId17"/>
    <p:sldLayoutId id="2147484501" r:id="rId18"/>
    <p:sldLayoutId id="2147484502" r:id="rId19"/>
    <p:sldLayoutId id="2147484503" r:id="rId20"/>
    <p:sldLayoutId id="2147484504" r:id="rId21"/>
    <p:sldLayoutId id="2147484505" r:id="rId22"/>
    <p:sldLayoutId id="2147484506" r:id="rId23"/>
    <p:sldLayoutId id="2147484507" r:id="rId24"/>
    <p:sldLayoutId id="2147484508" r:id="rId2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75" name="think-cell Folie" r:id="rId31" imgW="286" imgH="286" progId="TCLayout.ActiveDocument.1">
                  <p:embed/>
                </p:oleObj>
              </mc:Choice>
              <mc:Fallback>
                <p:oleObj name="think-cell Folie" r:id="rId31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chemeClr val="tx1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chemeClr val="tx1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2799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4" r:id="rId1"/>
    <p:sldLayoutId id="2147484835" r:id="rId2"/>
    <p:sldLayoutId id="2147484836" r:id="rId3"/>
    <p:sldLayoutId id="2147484837" r:id="rId4"/>
    <p:sldLayoutId id="2147484838" r:id="rId5"/>
    <p:sldLayoutId id="2147484839" r:id="rId6"/>
    <p:sldLayoutId id="2147484840" r:id="rId7"/>
    <p:sldLayoutId id="2147484841" r:id="rId8"/>
    <p:sldLayoutId id="2147484842" r:id="rId9"/>
    <p:sldLayoutId id="2147484843" r:id="rId10"/>
    <p:sldLayoutId id="2147484844" r:id="rId11"/>
    <p:sldLayoutId id="2147484845" r:id="rId12"/>
    <p:sldLayoutId id="2147484846" r:id="rId13"/>
    <p:sldLayoutId id="2147484847" r:id="rId14"/>
    <p:sldLayoutId id="2147484848" r:id="rId15"/>
    <p:sldLayoutId id="2147484849" r:id="rId16"/>
    <p:sldLayoutId id="2147484850" r:id="rId17"/>
    <p:sldLayoutId id="2147484851" r:id="rId18"/>
    <p:sldLayoutId id="2147484852" r:id="rId19"/>
    <p:sldLayoutId id="2147484853" r:id="rId20"/>
    <p:sldLayoutId id="2147484854" r:id="rId21"/>
    <p:sldLayoutId id="2147484855" r:id="rId22"/>
    <p:sldLayoutId id="2147484856" r:id="rId23"/>
    <p:sldLayoutId id="2147484857" r:id="rId24"/>
    <p:sldLayoutId id="2147484858" r:id="rId25"/>
    <p:sldLayoutId id="2147484859" r:id="rId26"/>
    <p:sldLayoutId id="2147484860" r:id="rId2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847536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97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7067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0" r:id="rId1"/>
    <p:sldLayoutId id="2147484511" r:id="rId2"/>
    <p:sldLayoutId id="2147484512" r:id="rId3"/>
    <p:sldLayoutId id="2147484513" r:id="rId4"/>
    <p:sldLayoutId id="2147484514" r:id="rId5"/>
    <p:sldLayoutId id="2147484515" r:id="rId6"/>
    <p:sldLayoutId id="2147484516" r:id="rId7"/>
    <p:sldLayoutId id="2147484517" r:id="rId8"/>
    <p:sldLayoutId id="2147484518" r:id="rId9"/>
    <p:sldLayoutId id="2147484519" r:id="rId10"/>
    <p:sldLayoutId id="2147484520" r:id="rId11"/>
    <p:sldLayoutId id="2147484521" r:id="rId12"/>
    <p:sldLayoutId id="2147484522" r:id="rId13"/>
    <p:sldLayoutId id="2147484523" r:id="rId14"/>
    <p:sldLayoutId id="2147484524" r:id="rId15"/>
    <p:sldLayoutId id="2147484525" r:id="rId16"/>
    <p:sldLayoutId id="2147484526" r:id="rId17"/>
    <p:sldLayoutId id="2147484527" r:id="rId18"/>
    <p:sldLayoutId id="2147484528" r:id="rId19"/>
    <p:sldLayoutId id="2147484529" r:id="rId20"/>
    <p:sldLayoutId id="2147484530" r:id="rId21"/>
    <p:sldLayoutId id="2147484531" r:id="rId22"/>
    <p:sldLayoutId id="2147484532" r:id="rId23"/>
    <p:sldLayoutId id="2147484533" r:id="rId24"/>
    <p:sldLayoutId id="2147484534" r:id="rId2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85928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21" name="think-cell Slide" r:id="rId31" imgW="286" imgH="286" progId="TCLayout.ActiveDocument.1">
                  <p:embed/>
                </p:oleObj>
              </mc:Choice>
              <mc:Fallback>
                <p:oleObj name="think-cell Slide" r:id="rId31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0126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6" r:id="rId1"/>
    <p:sldLayoutId id="2147484537" r:id="rId2"/>
    <p:sldLayoutId id="2147484538" r:id="rId3"/>
    <p:sldLayoutId id="2147484539" r:id="rId4"/>
    <p:sldLayoutId id="2147484540" r:id="rId5"/>
    <p:sldLayoutId id="2147484541" r:id="rId6"/>
    <p:sldLayoutId id="2147484542" r:id="rId7"/>
    <p:sldLayoutId id="2147484543" r:id="rId8"/>
    <p:sldLayoutId id="2147484544" r:id="rId9"/>
    <p:sldLayoutId id="2147484545" r:id="rId10"/>
    <p:sldLayoutId id="2147484546" r:id="rId11"/>
    <p:sldLayoutId id="2147484547" r:id="rId12"/>
    <p:sldLayoutId id="2147484548" r:id="rId13"/>
    <p:sldLayoutId id="2147484549" r:id="rId14"/>
    <p:sldLayoutId id="2147484550" r:id="rId15"/>
    <p:sldLayoutId id="2147484551" r:id="rId16"/>
    <p:sldLayoutId id="2147484552" r:id="rId17"/>
    <p:sldLayoutId id="2147484553" r:id="rId18"/>
    <p:sldLayoutId id="2147484554" r:id="rId19"/>
    <p:sldLayoutId id="2147484555" r:id="rId20"/>
    <p:sldLayoutId id="2147484556" r:id="rId21"/>
    <p:sldLayoutId id="2147484557" r:id="rId22"/>
    <p:sldLayoutId id="2147484558" r:id="rId23"/>
    <p:sldLayoutId id="2147484559" r:id="rId24"/>
    <p:sldLayoutId id="2147484560" r:id="rId25"/>
    <p:sldLayoutId id="2147484561" r:id="rId26"/>
    <p:sldLayoutId id="2147484562" r:id="rId2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405511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93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4754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4" r:id="rId1"/>
    <p:sldLayoutId id="2147484565" r:id="rId2"/>
    <p:sldLayoutId id="2147484566" r:id="rId3"/>
    <p:sldLayoutId id="2147484567" r:id="rId4"/>
    <p:sldLayoutId id="2147484568" r:id="rId5"/>
    <p:sldLayoutId id="2147484569" r:id="rId6"/>
    <p:sldLayoutId id="2147484570" r:id="rId7"/>
    <p:sldLayoutId id="2147484571" r:id="rId8"/>
    <p:sldLayoutId id="2147484572" r:id="rId9"/>
    <p:sldLayoutId id="2147484573" r:id="rId10"/>
    <p:sldLayoutId id="2147484574" r:id="rId11"/>
    <p:sldLayoutId id="2147484575" r:id="rId12"/>
    <p:sldLayoutId id="2147484576" r:id="rId13"/>
    <p:sldLayoutId id="2147484577" r:id="rId14"/>
    <p:sldLayoutId id="2147484578" r:id="rId15"/>
    <p:sldLayoutId id="2147484579" r:id="rId16"/>
    <p:sldLayoutId id="2147484580" r:id="rId17"/>
    <p:sldLayoutId id="2147484581" r:id="rId18"/>
    <p:sldLayoutId id="2147484582" r:id="rId19"/>
    <p:sldLayoutId id="2147484583" r:id="rId20"/>
    <p:sldLayoutId id="2147484584" r:id="rId21"/>
    <p:sldLayoutId id="2147484585" r:id="rId22"/>
    <p:sldLayoutId id="2147484586" r:id="rId23"/>
    <p:sldLayoutId id="2147484587" r:id="rId24"/>
    <p:sldLayoutId id="2147484588" r:id="rId2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681019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17" name="think-cell Slide" r:id="rId29" imgW="286" imgH="286" progId="TCLayout.ActiveDocument.1">
                  <p:embed/>
                </p:oleObj>
              </mc:Choice>
              <mc:Fallback>
                <p:oleObj name="think-cell Slide" r:id="rId29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7847988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789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0" r:id="rId1"/>
    <p:sldLayoutId id="2147484591" r:id="rId2"/>
    <p:sldLayoutId id="2147484592" r:id="rId3"/>
    <p:sldLayoutId id="2147484593" r:id="rId4"/>
    <p:sldLayoutId id="2147484594" r:id="rId5"/>
    <p:sldLayoutId id="2147484595" r:id="rId6"/>
    <p:sldLayoutId id="2147484596" r:id="rId7"/>
    <p:sldLayoutId id="2147484597" r:id="rId8"/>
    <p:sldLayoutId id="2147484598" r:id="rId9"/>
    <p:sldLayoutId id="2147484599" r:id="rId10"/>
    <p:sldLayoutId id="2147484600" r:id="rId11"/>
    <p:sldLayoutId id="2147484601" r:id="rId12"/>
    <p:sldLayoutId id="2147484602" r:id="rId13"/>
    <p:sldLayoutId id="2147484603" r:id="rId14"/>
    <p:sldLayoutId id="2147484604" r:id="rId15"/>
    <p:sldLayoutId id="2147484605" r:id="rId16"/>
    <p:sldLayoutId id="2147484606" r:id="rId17"/>
    <p:sldLayoutId id="2147484607" r:id="rId18"/>
    <p:sldLayoutId id="2147484608" r:id="rId19"/>
    <p:sldLayoutId id="2147484609" r:id="rId20"/>
    <p:sldLayoutId id="2147484610" r:id="rId21"/>
    <p:sldLayoutId id="2147484611" r:id="rId22"/>
    <p:sldLayoutId id="2147484612" r:id="rId23"/>
    <p:sldLayoutId id="2147484613" r:id="rId24"/>
    <p:sldLayoutId id="2147484614" r:id="rId2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614336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41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772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6" r:id="rId1"/>
    <p:sldLayoutId id="2147484617" r:id="rId2"/>
    <p:sldLayoutId id="2147484618" r:id="rId3"/>
    <p:sldLayoutId id="2147484619" r:id="rId4"/>
    <p:sldLayoutId id="2147484620" r:id="rId5"/>
    <p:sldLayoutId id="2147484621" r:id="rId6"/>
    <p:sldLayoutId id="2147484622" r:id="rId7"/>
    <p:sldLayoutId id="2147484623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803699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57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8830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5" r:id="rId1"/>
    <p:sldLayoutId id="2147484626" r:id="rId2"/>
    <p:sldLayoutId id="2147484627" r:id="rId3"/>
    <p:sldLayoutId id="2147484628" r:id="rId4"/>
    <p:sldLayoutId id="2147484629" r:id="rId5"/>
    <p:sldLayoutId id="2147484630" r:id="rId6"/>
    <p:sldLayoutId id="2147484631" r:id="rId7"/>
    <p:sldLayoutId id="2147484632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015551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573" name="think-cell Slide" r:id="rId12" imgW="286" imgH="286" progId="TCLayout.ActiveDocument.1">
                  <p:embed/>
                </p:oleObj>
              </mc:Choice>
              <mc:Fallback>
                <p:oleObj name="think-cell Slide" r:id="rId12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0000" y="684000"/>
            <a:ext cx="8784000" cy="9090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9512" y="1700808"/>
            <a:ext cx="87849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086472" y="1835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80000" y="1835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444208" y="155562"/>
            <a:ext cx="25197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Deutsche </a:t>
            </a:r>
            <a:r>
              <a:rPr lang="en-GB" sz="1100" dirty="0" err="1">
                <a:solidFill>
                  <a:prstClr val="black">
                    <a:tint val="75000"/>
                  </a:prstClr>
                </a:solidFill>
              </a:rPr>
              <a:t>Börse</a:t>
            </a:r>
            <a:r>
              <a:rPr lang="en-GB" sz="1100" dirty="0">
                <a:solidFill>
                  <a:prstClr val="black">
                    <a:tint val="75000"/>
                  </a:prstClr>
                </a:solidFill>
              </a:rPr>
              <a:t> Group</a:t>
            </a:r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-1116632" y="0"/>
            <a:ext cx="1063674" cy="468000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0/0/153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-1116632" y="488106"/>
            <a:ext cx="1063674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75/155/255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116632" y="976212"/>
            <a:ext cx="1063674" cy="46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25/20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-1116632" y="1464318"/>
            <a:ext cx="1063674" cy="468000"/>
          </a:xfrm>
          <a:prstGeom prst="rect">
            <a:avLst/>
          </a:prstGeom>
          <a:solidFill>
            <a:srgbClr val="B4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80/22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-1116632" y="1952424"/>
            <a:ext cx="1063674" cy="4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5/235/25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-1116632" y="2440530"/>
            <a:ext cx="1063674" cy="46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10/210/21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-1116632" y="2928636"/>
            <a:ext cx="1063674" cy="46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75/175/17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-1116632" y="3416742"/>
            <a:ext cx="1063674" cy="468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45/145/145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-1116632" y="3904848"/>
            <a:ext cx="1063674" cy="4680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110/110/11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-1116632" y="4392954"/>
            <a:ext cx="1063674" cy="468000"/>
          </a:xfrm>
          <a:prstGeom prst="rect">
            <a:avLst/>
          </a:prstGeom>
          <a:solidFill>
            <a:srgbClr val="6E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10/215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-1116632" y="4881060"/>
            <a:ext cx="1063674" cy="468000"/>
          </a:xfrm>
          <a:prstGeom prst="rect">
            <a:avLst/>
          </a:prstGeom>
          <a:solidFill>
            <a:srgbClr val="A5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165/230/0</a:t>
            </a:r>
            <a:endParaRPr lang="en-GB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-1116632" y="5369166"/>
            <a:ext cx="1063674" cy="468000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prstClr val="black"/>
                </a:solidFill>
                <a:latin typeface="Arial" pitchFamily="34" charset="0"/>
              </a:rPr>
              <a:t>255/225/0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-1116632" y="5857272"/>
            <a:ext cx="1063674" cy="468000"/>
          </a:xfrm>
          <a:prstGeom prst="rect">
            <a:avLst/>
          </a:prstGeom>
          <a:solidFill>
            <a:srgbClr val="FF7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55/115/0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-1116632" y="6345376"/>
            <a:ext cx="1063674" cy="468000"/>
          </a:xfrm>
          <a:prstGeom prst="rect">
            <a:avLst/>
          </a:prstGeom>
          <a:solidFill>
            <a:srgbClr val="F0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1100"/>
              </a:lnSpc>
            </a:pPr>
            <a:r>
              <a:rPr lang="de-DE" sz="1200" dirty="0">
                <a:solidFill>
                  <a:srgbClr val="FFFFFF"/>
                </a:solidFill>
                <a:latin typeface="Arial" pitchFamily="34" charset="0"/>
              </a:rPr>
              <a:t>240/51/51</a:t>
            </a:r>
            <a:endParaRPr lang="en-GB" sz="12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018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4" r:id="rId1"/>
    <p:sldLayoutId id="2147484635" r:id="rId2"/>
    <p:sldLayoutId id="2147484636" r:id="rId3"/>
    <p:sldLayoutId id="2147484637" r:id="rId4"/>
    <p:sldLayoutId id="2147484638" r:id="rId5"/>
    <p:sldLayoutId id="2147484639" r:id="rId6"/>
    <p:sldLayoutId id="2147484640" r:id="rId7"/>
    <p:sldLayoutId id="2147484641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0"/>
        </a:spcBef>
        <a:spcAft>
          <a:spcPts val="600"/>
        </a:spcAft>
        <a:buSzPct val="8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307.xml"/><Relationship Id="rId7" Type="http://schemas.openxmlformats.org/officeDocument/2006/relationships/diagramData" Target="../diagrams/data3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2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218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10.xml"/><Relationship Id="rId9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1.xml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307.xml"/><Relationship Id="rId7" Type="http://schemas.openxmlformats.org/officeDocument/2006/relationships/diagramData" Target="../diagrams/data4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2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218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13.xml"/><Relationship Id="rId9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1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slideLayout" Target="../slideLayouts/slideLayout307.xml"/><Relationship Id="rId7" Type="http://schemas.openxmlformats.org/officeDocument/2006/relationships/diagramData" Target="../diagrams/data5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2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218.bin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16.xml"/><Relationship Id="rId9" Type="http://schemas.openxmlformats.org/officeDocument/2006/relationships/diagramQuickStyle" Target="../diagrams/quickStyle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1.xml"/><Relationship Id="rId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307.xml"/><Relationship Id="rId7" Type="http://schemas.openxmlformats.org/officeDocument/2006/relationships/diagramData" Target="../diagrams/data1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2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218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1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307.xml"/><Relationship Id="rId7" Type="http://schemas.openxmlformats.org/officeDocument/2006/relationships/diagramData" Target="../diagrams/data2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2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218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8.xml"/><Relationship Id="rId9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1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9512" y="2066181"/>
            <a:ext cx="4392000" cy="965969"/>
          </a:xfrm>
        </p:spPr>
        <p:txBody>
          <a:bodyPr/>
          <a:lstStyle/>
          <a:p>
            <a:r>
              <a:rPr lang="en-GB" dirty="0" smtClean="0"/>
              <a:t>Areas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/>
              <a:t>A</a:t>
            </a:r>
            <a:r>
              <a:rPr lang="cs-CZ" dirty="0" err="1" smtClean="0"/>
              <a:t>gile</a:t>
            </a:r>
            <a:r>
              <a:rPr lang="cs-CZ" dirty="0" smtClean="0"/>
              <a:t> </a:t>
            </a:r>
            <a:r>
              <a:rPr lang="cs-CZ" dirty="0" err="1" smtClean="0"/>
              <a:t>transformatio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512" y="3032150"/>
            <a:ext cx="4392000" cy="586990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5572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76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6" name="Object 3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Oval 34"/>
          <p:cNvSpPr/>
          <p:nvPr/>
        </p:nvSpPr>
        <p:spPr>
          <a:xfrm>
            <a:off x="611560" y="2780928"/>
            <a:ext cx="2088232" cy="2016024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6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cs-CZ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cs-CZ" sz="16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ension</a:t>
            </a:r>
            <a:endParaRPr lang="de-D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684000"/>
            <a:ext cx="7344328" cy="909015"/>
          </a:xfrm>
        </p:spPr>
        <p:txBody>
          <a:bodyPr/>
          <a:lstStyle/>
          <a:p>
            <a:r>
              <a:rPr lang="cs-CZ" dirty="0" err="1" smtClean="0"/>
              <a:t>Product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3" name="Diagram 32"/>
          <p:cNvGraphicFramePr/>
          <p:nvPr>
            <p:extLst>
              <p:ext uri="{D42A27DB-BD31-4B8C-83A1-F6EECF244321}">
                <p14:modId xmlns:p14="http://schemas.microsoft.com/office/powerpoint/2010/main" val="788508494"/>
              </p:ext>
            </p:extLst>
          </p:nvPr>
        </p:nvGraphicFramePr>
        <p:xfrm>
          <a:off x="2644153" y="1628774"/>
          <a:ext cx="6247800" cy="4537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370948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96" y="44624"/>
            <a:ext cx="9073008" cy="6768083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578988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liver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561048"/>
            <a:ext cx="6514220" cy="4100199"/>
          </a:xfrm>
        </p:spPr>
      </p:pic>
      <p:pic>
        <p:nvPicPr>
          <p:cNvPr id="5" name="Picture 2" descr="image001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05"/>
          <a:stretch/>
        </p:blipFill>
        <p:spPr bwMode="auto">
          <a:xfrm>
            <a:off x="6732240" y="5949280"/>
            <a:ext cx="112353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544108" y="6244555"/>
            <a:ext cx="23762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u="sng" dirty="0"/>
              <a:t>https://</a:t>
            </a:r>
            <a:r>
              <a:rPr lang="en-US" sz="1400" u="sng" dirty="0" smtClean="0"/>
              <a:t>www.solutionsiq.com</a:t>
            </a:r>
            <a:endParaRPr lang="en-GB" sz="1400" dirty="0"/>
          </a:p>
          <a:p>
            <a:endParaRPr lang="en-GB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421307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79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6" name="Object 3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Oval 34"/>
          <p:cNvSpPr/>
          <p:nvPr/>
        </p:nvSpPr>
        <p:spPr>
          <a:xfrm>
            <a:off x="395536" y="2708920"/>
            <a:ext cx="2088232" cy="2016024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6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y</a:t>
            </a:r>
            <a:r>
              <a:rPr lang="cs-CZ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cs-CZ" sz="16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ension</a:t>
            </a:r>
            <a:endParaRPr lang="de-D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684000"/>
            <a:ext cx="7344328" cy="909015"/>
          </a:xfrm>
        </p:spPr>
        <p:txBody>
          <a:bodyPr/>
          <a:lstStyle/>
          <a:p>
            <a:r>
              <a:rPr lang="cs-CZ" dirty="0" err="1" smtClean="0"/>
              <a:t>Delivery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3" name="Diagram 32"/>
          <p:cNvGraphicFramePr/>
          <p:nvPr>
            <p:extLst>
              <p:ext uri="{D42A27DB-BD31-4B8C-83A1-F6EECF244321}">
                <p14:modId xmlns:p14="http://schemas.microsoft.com/office/powerpoint/2010/main" val="1959463120"/>
              </p:ext>
            </p:extLst>
          </p:nvPr>
        </p:nvGraphicFramePr>
        <p:xfrm>
          <a:off x="2644153" y="1628774"/>
          <a:ext cx="6247800" cy="4537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957379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764704"/>
            <a:ext cx="8848668" cy="551257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0572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Execu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1667087"/>
            <a:ext cx="6408712" cy="4006932"/>
          </a:xfrm>
        </p:spPr>
      </p:pic>
      <p:pic>
        <p:nvPicPr>
          <p:cNvPr id="5" name="Picture 2" descr="image001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05"/>
          <a:stretch/>
        </p:blipFill>
        <p:spPr bwMode="auto">
          <a:xfrm>
            <a:off x="6732240" y="5949280"/>
            <a:ext cx="112353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544108" y="6244555"/>
            <a:ext cx="23762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u="sng" dirty="0"/>
              <a:t>https://</a:t>
            </a:r>
            <a:r>
              <a:rPr lang="en-US" sz="1400" u="sng" dirty="0" smtClean="0"/>
              <a:t>www.solutionsiq.com</a:t>
            </a:r>
            <a:endParaRPr lang="en-GB" sz="1400" dirty="0"/>
          </a:p>
          <a:p>
            <a:endParaRPr lang="en-GB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298551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81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6" name="Object 3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Oval 34"/>
          <p:cNvSpPr/>
          <p:nvPr/>
        </p:nvSpPr>
        <p:spPr>
          <a:xfrm>
            <a:off x="611560" y="2780928"/>
            <a:ext cx="2088232" cy="2016024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6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on</a:t>
            </a:r>
            <a:r>
              <a:rPr lang="cs-CZ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6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ension</a:t>
            </a:r>
            <a:endParaRPr lang="de-D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684000"/>
            <a:ext cx="7344328" cy="909015"/>
          </a:xfrm>
        </p:spPr>
        <p:txBody>
          <a:bodyPr/>
          <a:lstStyle/>
          <a:p>
            <a:r>
              <a:rPr lang="cs-CZ" dirty="0" err="1" smtClean="0"/>
              <a:t>Execution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3" name="Diagram 32"/>
          <p:cNvGraphicFramePr/>
          <p:nvPr>
            <p:extLst>
              <p:ext uri="{D42A27DB-BD31-4B8C-83A1-F6EECF244321}">
                <p14:modId xmlns:p14="http://schemas.microsoft.com/office/powerpoint/2010/main" val="2121000328"/>
              </p:ext>
            </p:extLst>
          </p:nvPr>
        </p:nvGraphicFramePr>
        <p:xfrm>
          <a:off x="2644153" y="1628774"/>
          <a:ext cx="6247800" cy="4537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23525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</a:t>
            </a:r>
            <a:r>
              <a:rPr lang="cs-CZ" smtClean="0"/>
              <a:t>s </a:t>
            </a:r>
            <a:r>
              <a:rPr lang="en-GB" dirty="0" smtClean="0"/>
              <a:t>and answer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958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ppendix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spcAft>
                <a:spcPts val="0"/>
              </a:spcAft>
              <a:defRPr/>
            </a:pPr>
            <a:r>
              <a:rPr lang="cs-CZ" sz="2000" dirty="0" err="1" smtClean="0">
                <a:cs typeface="Arial" panose="020B0604020202020204" pitchFamily="34" charset="0"/>
              </a:rPr>
              <a:t>Change</a:t>
            </a:r>
            <a:r>
              <a:rPr lang="cs-CZ" sz="2000" dirty="0" smtClean="0">
                <a:cs typeface="Arial" panose="020B0604020202020204" pitchFamily="34" charset="0"/>
              </a:rPr>
              <a:t> management </a:t>
            </a:r>
            <a:r>
              <a:rPr lang="cs-CZ" sz="2000" dirty="0" err="1" smtClean="0">
                <a:cs typeface="Arial" panose="020B0604020202020204" pitchFamily="34" charset="0"/>
              </a:rPr>
              <a:t>methods</a:t>
            </a:r>
            <a:endParaRPr lang="cs-CZ" sz="2000" dirty="0" smtClean="0">
              <a:cs typeface="Arial" panose="020B0604020202020204" pitchFamily="34" charset="0"/>
            </a:endParaRPr>
          </a:p>
          <a:p>
            <a:pPr lvl="0">
              <a:spcAft>
                <a:spcPts val="0"/>
              </a:spcAft>
              <a:defRPr/>
            </a:pPr>
            <a:r>
              <a:rPr lang="en-GB" sz="2000" dirty="0" smtClean="0">
                <a:cs typeface="Arial" panose="020B0604020202020204" pitchFamily="34" charset="0"/>
              </a:rPr>
              <a:t>- </a:t>
            </a:r>
            <a:r>
              <a:rPr lang="cs-CZ" sz="2000" dirty="0">
                <a:cs typeface="Arial" panose="020B0604020202020204" pitchFamily="34" charset="0"/>
              </a:rPr>
              <a:t>„</a:t>
            </a:r>
            <a:r>
              <a:rPr lang="en-GB" dirty="0">
                <a:cs typeface="Arial" panose="020B0604020202020204" pitchFamily="34" charset="0"/>
              </a:rPr>
              <a:t>Fearless change</a:t>
            </a:r>
            <a:r>
              <a:rPr lang="cs-CZ" dirty="0">
                <a:cs typeface="Arial" panose="020B0604020202020204" pitchFamily="34" charset="0"/>
              </a:rPr>
              <a:t>“</a:t>
            </a:r>
            <a:r>
              <a:rPr lang="en-GB" dirty="0">
                <a:cs typeface="Arial" panose="020B0604020202020204" pitchFamily="34" charset="0"/>
              </a:rPr>
              <a:t> by Linda Rising</a:t>
            </a:r>
          </a:p>
          <a:p>
            <a:pPr lvl="0">
              <a:spcAft>
                <a:spcPts val="0"/>
              </a:spcAft>
              <a:defRPr/>
            </a:pPr>
            <a:r>
              <a:rPr lang="en-GB" dirty="0">
                <a:cs typeface="Arial" panose="020B0604020202020204" pitchFamily="34" charset="0"/>
              </a:rPr>
              <a:t>- </a:t>
            </a:r>
            <a:r>
              <a:rPr lang="cs-CZ" dirty="0">
                <a:cs typeface="Arial" panose="020B0604020202020204" pitchFamily="34" charset="0"/>
              </a:rPr>
              <a:t>„</a:t>
            </a:r>
            <a:r>
              <a:rPr lang="en-GB" dirty="0">
                <a:cs typeface="Arial" panose="020B0604020202020204" pitchFamily="34" charset="0"/>
              </a:rPr>
              <a:t>U theory</a:t>
            </a:r>
            <a:r>
              <a:rPr lang="cs-CZ" dirty="0">
                <a:cs typeface="Arial" panose="020B0604020202020204" pitchFamily="34" charset="0"/>
              </a:rPr>
              <a:t>“</a:t>
            </a:r>
            <a:r>
              <a:rPr lang="en-GB" dirty="0">
                <a:cs typeface="Arial" panose="020B0604020202020204" pitchFamily="34" charset="0"/>
              </a:rPr>
              <a:t> by </a:t>
            </a:r>
            <a:r>
              <a:rPr lang="en-GB" dirty="0" err="1">
                <a:cs typeface="Arial" panose="020B0604020202020204" pitchFamily="34" charset="0"/>
              </a:rPr>
              <a:t>Scharmer</a:t>
            </a:r>
            <a:endParaRPr lang="en-GB" dirty="0">
              <a:cs typeface="Arial" panose="020B0604020202020204" pitchFamily="34" charset="0"/>
            </a:endParaRPr>
          </a:p>
          <a:p>
            <a:pPr lvl="0">
              <a:spcAft>
                <a:spcPts val="0"/>
              </a:spcAft>
              <a:defRPr/>
            </a:pPr>
            <a:r>
              <a:rPr lang="en-GB" dirty="0">
                <a:cs typeface="Arial" panose="020B0604020202020204" pitchFamily="34" charset="0"/>
              </a:rPr>
              <a:t>- </a:t>
            </a:r>
            <a:r>
              <a:rPr lang="cs-CZ" dirty="0">
                <a:cs typeface="Arial" panose="020B0604020202020204" pitchFamily="34" charset="0"/>
              </a:rPr>
              <a:t>„</a:t>
            </a:r>
            <a:r>
              <a:rPr lang="en-GB" dirty="0">
                <a:cs typeface="Arial" panose="020B0604020202020204" pitchFamily="34" charset="0"/>
              </a:rPr>
              <a:t>Appreciative inquiry</a:t>
            </a:r>
            <a:r>
              <a:rPr lang="cs-CZ" dirty="0">
                <a:cs typeface="Arial" panose="020B0604020202020204" pitchFamily="34" charset="0"/>
              </a:rPr>
              <a:t>“</a:t>
            </a:r>
            <a:r>
              <a:rPr lang="en-GB" dirty="0">
                <a:cs typeface="Arial" panose="020B0604020202020204" pitchFamily="34" charset="0"/>
              </a:rPr>
              <a:t> by </a:t>
            </a:r>
            <a:r>
              <a:rPr lang="en-GB" dirty="0" err="1">
                <a:cs typeface="Arial" panose="020B0604020202020204" pitchFamily="34" charset="0"/>
              </a:rPr>
              <a:t>Cooperrider</a:t>
            </a:r>
            <a:endParaRPr lang="en-GB" dirty="0">
              <a:cs typeface="Arial" panose="020B0604020202020204" pitchFamily="34" charset="0"/>
            </a:endParaRPr>
          </a:p>
          <a:p>
            <a:pPr lvl="0">
              <a:spcAft>
                <a:spcPts val="0"/>
              </a:spcAft>
              <a:defRPr/>
            </a:pPr>
            <a:r>
              <a:rPr lang="en-GB" dirty="0">
                <a:cs typeface="Arial" panose="020B0604020202020204" pitchFamily="34" charset="0"/>
              </a:rPr>
              <a:t>- </a:t>
            </a:r>
            <a:r>
              <a:rPr lang="cs-CZ" dirty="0">
                <a:cs typeface="Arial" panose="020B0604020202020204" pitchFamily="34" charset="0"/>
              </a:rPr>
              <a:t>„</a:t>
            </a:r>
            <a:r>
              <a:rPr lang="en-GB" dirty="0">
                <a:cs typeface="Arial" panose="020B0604020202020204" pitchFamily="34" charset="0"/>
              </a:rPr>
              <a:t>Force Field Model</a:t>
            </a:r>
            <a:r>
              <a:rPr lang="cs-CZ" dirty="0">
                <a:cs typeface="Arial" panose="020B0604020202020204" pitchFamily="34" charset="0"/>
              </a:rPr>
              <a:t>“</a:t>
            </a:r>
            <a:r>
              <a:rPr lang="en-GB" dirty="0">
                <a:cs typeface="Arial" panose="020B0604020202020204" pitchFamily="34" charset="0"/>
              </a:rPr>
              <a:t> by </a:t>
            </a:r>
            <a:r>
              <a:rPr lang="en-GB" dirty="0" err="1">
                <a:cs typeface="Arial" panose="020B0604020202020204" pitchFamily="34" charset="0"/>
              </a:rPr>
              <a:t>Lewins</a:t>
            </a:r>
            <a:endParaRPr lang="en-GB" dirty="0">
              <a:cs typeface="Arial" panose="020B0604020202020204" pitchFamily="34" charset="0"/>
            </a:endParaRPr>
          </a:p>
          <a:p>
            <a:pPr lvl="0">
              <a:spcAft>
                <a:spcPts val="0"/>
              </a:spcAft>
              <a:defRPr/>
            </a:pPr>
            <a:r>
              <a:rPr lang="en-GB" dirty="0">
                <a:cs typeface="Arial" panose="020B0604020202020204" pitchFamily="34" charset="0"/>
              </a:rPr>
              <a:t>- Future search</a:t>
            </a:r>
          </a:p>
          <a:p>
            <a:pPr lvl="0">
              <a:spcAft>
                <a:spcPts val="0"/>
              </a:spcAft>
              <a:defRPr/>
            </a:pPr>
            <a:r>
              <a:rPr lang="en-GB" dirty="0">
                <a:cs typeface="Arial" panose="020B0604020202020204" pitchFamily="34" charset="0"/>
              </a:rPr>
              <a:t>- </a:t>
            </a:r>
            <a:r>
              <a:rPr lang="en-GB" dirty="0" err="1">
                <a:cs typeface="Arial" panose="020B0604020202020204" pitchFamily="34" charset="0"/>
              </a:rPr>
              <a:t>Openspace</a:t>
            </a:r>
            <a:r>
              <a:rPr lang="en-GB" dirty="0">
                <a:cs typeface="Arial" panose="020B0604020202020204" pitchFamily="34" charset="0"/>
              </a:rPr>
              <a:t> </a:t>
            </a:r>
            <a:r>
              <a:rPr lang="cs-CZ" dirty="0">
                <a:cs typeface="Arial" panose="020B0604020202020204" pitchFamily="34" charset="0"/>
              </a:rPr>
              <a:t>(</a:t>
            </a:r>
            <a:r>
              <a:rPr lang="cs-CZ" dirty="0" err="1">
                <a:cs typeface="Arial" panose="020B0604020202020204" pitchFamily="34" charset="0"/>
              </a:rPr>
              <a:t>used</a:t>
            </a:r>
            <a:r>
              <a:rPr lang="cs-CZ" dirty="0">
                <a:cs typeface="Arial" panose="020B0604020202020204" pitchFamily="34" charset="0"/>
              </a:rPr>
              <a:t> in </a:t>
            </a:r>
            <a:r>
              <a:rPr lang="cs-CZ" dirty="0" err="1">
                <a:cs typeface="Arial" panose="020B0604020202020204" pitchFamily="34" charset="0"/>
              </a:rPr>
              <a:t>Energy</a:t>
            </a:r>
            <a:r>
              <a:rPr lang="cs-CZ" dirty="0">
                <a:cs typeface="Arial" panose="020B0604020202020204" pitchFamily="34" charset="0"/>
              </a:rPr>
              <a:t>)</a:t>
            </a:r>
            <a:endParaRPr lang="en-GB" dirty="0">
              <a:cs typeface="Arial" panose="020B0604020202020204" pitchFamily="34" charset="0"/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513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Introduc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Speaker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 smtClean="0"/>
              <a:t>Pavel Popelka - Head of development unit in Energy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 smtClean="0"/>
              <a:t>More than five years of practical experience with Agile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 smtClean="0"/>
              <a:t>Try and adapt on team level (Agile, Management 3.0, Lean…)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 smtClean="0"/>
              <a:t>Leading the agile transformation in Energy s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Presentation goal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 smtClean="0"/>
              <a:t>Take a</a:t>
            </a:r>
            <a:r>
              <a:rPr lang="cs-CZ" dirty="0" smtClean="0"/>
              <a:t>l</a:t>
            </a:r>
            <a:r>
              <a:rPr lang="en-GB" dirty="0" smtClean="0"/>
              <a:t>ways – ideas, thoughts, practic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 smtClean="0"/>
              <a:t>Share Energy section approach + generic recommendation (experience)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 smtClean="0"/>
              <a:t>Find own way (different technical, historical </a:t>
            </a:r>
            <a:r>
              <a:rPr lang="en-GB" dirty="0" err="1" smtClean="0"/>
              <a:t>backgrou</a:t>
            </a:r>
            <a:r>
              <a:rPr lang="cs-CZ" dirty="0" smtClean="0"/>
              <a:t>n</a:t>
            </a:r>
            <a:r>
              <a:rPr lang="en-GB" dirty="0" smtClean="0"/>
              <a:t>d…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410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reas of enterprise influenced by Agi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gile = adaptive</a:t>
            </a:r>
          </a:p>
          <a:p>
            <a:endParaRPr lang="en-GB" dirty="0" smtClean="0"/>
          </a:p>
          <a:p>
            <a:r>
              <a:rPr lang="en-GB" dirty="0" smtClean="0"/>
              <a:t>Applied on several levels (from team to organization).</a:t>
            </a:r>
          </a:p>
          <a:p>
            <a:endParaRPr lang="en-GB" dirty="0" smtClean="0"/>
          </a:p>
          <a:p>
            <a:r>
              <a:rPr lang="en-GB" dirty="0" smtClean="0"/>
              <a:t>Areas for </a:t>
            </a:r>
            <a:r>
              <a:rPr lang="en-GB" dirty="0" err="1" smtClean="0"/>
              <a:t>succesful</a:t>
            </a:r>
            <a:r>
              <a:rPr lang="en-GB" dirty="0" smtClean="0"/>
              <a:t> agile transformation: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Leadership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Organization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Product</a:t>
            </a:r>
          </a:p>
          <a:p>
            <a:pPr marL="285750" indent="-285750">
              <a:buFontTx/>
              <a:buChar char="-"/>
            </a:pPr>
            <a:r>
              <a:rPr lang="en-GB" b="1" dirty="0" smtClean="0"/>
              <a:t>Delivery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Execu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402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adership</a:t>
            </a:r>
            <a:endParaRPr lang="en-GB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599" y="1570150"/>
            <a:ext cx="6884173" cy="365905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16802" name="Picture 2" descr="image001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05"/>
          <a:stretch/>
        </p:blipFill>
        <p:spPr bwMode="auto">
          <a:xfrm>
            <a:off x="6732240" y="5949280"/>
            <a:ext cx="112353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544108" y="6244555"/>
            <a:ext cx="23762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u="sng" dirty="0"/>
              <a:t>https://</a:t>
            </a:r>
            <a:r>
              <a:rPr lang="en-US" sz="1400" u="sng" dirty="0" smtClean="0"/>
              <a:t>www.solutionsiq.com</a:t>
            </a:r>
            <a:endParaRPr lang="en-GB" sz="1400" dirty="0"/>
          </a:p>
          <a:p>
            <a:endParaRPr lang="en-GB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2775271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72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6" name="Object 3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Oval 34"/>
          <p:cNvSpPr/>
          <p:nvPr/>
        </p:nvSpPr>
        <p:spPr>
          <a:xfrm>
            <a:off x="323528" y="2924944"/>
            <a:ext cx="1800000" cy="1800000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6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ership</a:t>
            </a:r>
            <a:r>
              <a:rPr lang="cs-CZ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6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ension</a:t>
            </a:r>
            <a:endParaRPr lang="de-D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684000"/>
            <a:ext cx="7344328" cy="909015"/>
          </a:xfrm>
        </p:spPr>
        <p:txBody>
          <a:bodyPr/>
          <a:lstStyle/>
          <a:p>
            <a:r>
              <a:rPr lang="cs-CZ" dirty="0" err="1" smtClean="0"/>
              <a:t>Leadership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3" name="Diagram 32"/>
          <p:cNvGraphicFramePr/>
          <p:nvPr>
            <p:extLst>
              <p:ext uri="{D42A27DB-BD31-4B8C-83A1-F6EECF244321}">
                <p14:modId xmlns:p14="http://schemas.microsoft.com/office/powerpoint/2010/main" val="1850926092"/>
              </p:ext>
            </p:extLst>
          </p:nvPr>
        </p:nvGraphicFramePr>
        <p:xfrm>
          <a:off x="2195736" y="1628774"/>
          <a:ext cx="6696217" cy="4824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538133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6804248" cy="6858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83482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Organiza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056" y="2276508"/>
            <a:ext cx="6193416" cy="3096708"/>
          </a:xfrm>
        </p:spPr>
      </p:pic>
      <p:pic>
        <p:nvPicPr>
          <p:cNvPr id="5" name="Picture 2" descr="image001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05"/>
          <a:stretch/>
        </p:blipFill>
        <p:spPr bwMode="auto">
          <a:xfrm>
            <a:off x="6732240" y="5949280"/>
            <a:ext cx="112353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544108" y="6244555"/>
            <a:ext cx="23762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u="sng" dirty="0"/>
              <a:t>https://</a:t>
            </a:r>
            <a:r>
              <a:rPr lang="en-US" sz="1400" u="sng" dirty="0" smtClean="0"/>
              <a:t>www.solutionsiq.com</a:t>
            </a:r>
            <a:endParaRPr lang="en-GB" sz="1400" dirty="0"/>
          </a:p>
          <a:p>
            <a:endParaRPr lang="en-GB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162302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75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6" name="Object 3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Oval 34"/>
          <p:cNvSpPr/>
          <p:nvPr/>
        </p:nvSpPr>
        <p:spPr>
          <a:xfrm>
            <a:off x="611560" y="2780928"/>
            <a:ext cx="2088232" cy="2016024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6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tion</a:t>
            </a:r>
            <a:r>
              <a:rPr lang="cs-CZ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6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ension</a:t>
            </a:r>
            <a:endParaRPr lang="de-D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684000"/>
            <a:ext cx="7344328" cy="909015"/>
          </a:xfrm>
        </p:spPr>
        <p:txBody>
          <a:bodyPr/>
          <a:lstStyle/>
          <a:p>
            <a:r>
              <a:rPr lang="cs-CZ" dirty="0" err="1" smtClean="0"/>
              <a:t>Organization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3" name="Diagram 32"/>
          <p:cNvGraphicFramePr/>
          <p:nvPr>
            <p:extLst>
              <p:ext uri="{D42A27DB-BD31-4B8C-83A1-F6EECF244321}">
                <p14:modId xmlns:p14="http://schemas.microsoft.com/office/powerpoint/2010/main" val="3069869883"/>
              </p:ext>
            </p:extLst>
          </p:nvPr>
        </p:nvGraphicFramePr>
        <p:xfrm>
          <a:off x="2644153" y="1628774"/>
          <a:ext cx="6247800" cy="4537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7551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Produc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sz="1100" smtClean="0">
                <a:solidFill>
                  <a:prstClr val="black">
                    <a:tint val="75000"/>
                  </a:prstClr>
                </a:solidFill>
              </a:rPr>
              <a:t>Deutsche Börse Group</a:t>
            </a:r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	</a:t>
            </a:r>
            <a:fld id="{92F7DF68-39C9-4B8A-BEDC-AE012F5E44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1679796"/>
            <a:ext cx="6192687" cy="3850434"/>
          </a:xfrm>
        </p:spPr>
      </p:pic>
      <p:pic>
        <p:nvPicPr>
          <p:cNvPr id="5" name="Picture 2" descr="image001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05"/>
          <a:stretch/>
        </p:blipFill>
        <p:spPr bwMode="auto">
          <a:xfrm>
            <a:off x="6732240" y="5949280"/>
            <a:ext cx="112353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544108" y="6244555"/>
            <a:ext cx="23762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u="sng" dirty="0"/>
              <a:t>https://</a:t>
            </a:r>
            <a:r>
              <a:rPr lang="en-US" sz="1400" u="sng" dirty="0" smtClean="0"/>
              <a:t>www.solutionsiq.com</a:t>
            </a:r>
            <a:endParaRPr lang="en-GB" sz="1400" dirty="0"/>
          </a:p>
          <a:p>
            <a:endParaRPr lang="en-GB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2611490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b_standard_slides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EN_Q2_final.pptx" id="{1627F745-BCEC-4988-9D7F-B491D701DBE2}" vid="{006552D4-C2A2-4C33-A80D-7DD721659AB7}"/>
    </a:ext>
  </a:extLst>
</a:theme>
</file>

<file path=ppt/theme/theme10.xml><?xml version="1.0" encoding="utf-8"?>
<a:theme xmlns:a="http://schemas.openxmlformats.org/drawingml/2006/main" name="3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4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5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6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4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2_final.pptx" id="{2175FCFA-9B04-4F8C-9158-44CD17BD8332}" vid="{4C35D296-8FDB-4EE3-B3B8-A139D42DBAC5}"/>
    </a:ext>
  </a:extLst>
</a:theme>
</file>

<file path=ppt/theme/theme15.xml><?xml version="1.0" encoding="utf-8"?>
<a:theme xmlns:a="http://schemas.openxmlformats.org/drawingml/2006/main" name="7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4"/>
        </a:solidFill>
        <a:ln>
          <a:noFill/>
        </a:ln>
        <a:extLst/>
      </a:spPr>
      <a:bodyPr wrap="none" anchor="ctr"/>
      <a:lstStyle>
        <a:defPPr eaLnBrk="0" hangingPunct="0">
          <a:defRPr b="1" dirty="0"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5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2_final.pptx" id="{2175FCFA-9B04-4F8C-9158-44CD17BD8332}" vid="{4C35D296-8FDB-4EE3-B3B8-A139D42DBAC5}"/>
    </a:ext>
  </a:extLst>
</a:theme>
</file>

<file path=ppt/theme/theme17.xml><?xml version="1.0" encoding="utf-8"?>
<a:theme xmlns:a="http://schemas.openxmlformats.org/drawingml/2006/main" name="6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2_final.pptx" id="{2175FCFA-9B04-4F8C-9158-44CD17BD8332}" vid="{4C35D296-8FDB-4EE3-B3B8-A139D42DBAC5}"/>
    </a:ext>
  </a:extLst>
</a:theme>
</file>

<file path=ppt/theme/theme18.xml><?xml version="1.0" encoding="utf-8"?>
<a:theme xmlns:a="http://schemas.openxmlformats.org/drawingml/2006/main" name="gdb_standard_slides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EN_Q2_final.pptx" id="{1627F745-BCEC-4988-9D7F-B491D701DBE2}" vid="{006552D4-C2A2-4C33-A80D-7DD721659AB7}"/>
    </a:ext>
  </a:extLst>
</a:theme>
</file>

<file path=ppt/theme/theme19.xml><?xml version="1.0" encoding="utf-8"?>
<a:theme xmlns:a="http://schemas.openxmlformats.org/drawingml/2006/main" name="1_gdb_standard_slides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EN_Q2_final.pptx" id="{1627F745-BCEC-4988-9D7F-B491D701DBE2}" vid="{006552D4-C2A2-4C33-A80D-7DD721659AB7}"/>
    </a:ext>
  </a:extLst>
</a:theme>
</file>

<file path=ppt/theme/theme2.xml><?xml version="1.0" encoding="utf-8"?>
<a:theme xmlns:a="http://schemas.openxmlformats.org/drawingml/2006/main" name="2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2_final.pptx" id="{2175FCFA-9B04-4F8C-9158-44CD17BD8332}" vid="{4C35D296-8FDB-4EE3-B3B8-A139D42DBAC5}"/>
    </a:ext>
  </a:extLst>
</a:theme>
</file>

<file path=ppt/theme/theme20.xml><?xml version="1.0" encoding="utf-8"?>
<a:theme xmlns:a="http://schemas.openxmlformats.org/drawingml/2006/main" name="3_gdb_standard_slides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EN_Q2_final.pptx" id="{1627F745-BCEC-4988-9D7F-B491D701DBE2}" vid="{006552D4-C2A2-4C33-A80D-7DD721659AB7}"/>
    </a:ext>
  </a:extLst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2_final.pptx" id="{2175FCFA-9B04-4F8C-9158-44CD17BD8332}" vid="{4C35D296-8FDB-4EE3-B3B8-A139D42DBAC5}"/>
    </a:ext>
  </a:extLst>
</a:theme>
</file>

<file path=ppt/theme/theme4.xml><?xml version="1.0" encoding="utf-8"?>
<a:theme xmlns:a="http://schemas.openxmlformats.org/drawingml/2006/main" name="2_gdb_standard_slides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EN_Q2_final.pptx" id="{1627F745-BCEC-4988-9D7F-B491D701DBE2}" vid="{006552D4-C2A2-4C33-A80D-7DD721659AB7}"/>
    </a:ext>
  </a:extLst>
</a:theme>
</file>

<file path=ppt/theme/theme5.xml><?xml version="1.0" encoding="utf-8"?>
<a:theme xmlns:a="http://schemas.openxmlformats.org/drawingml/2006/main" name="1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2_final.pptx" id="{2175FCFA-9B04-4F8C-9158-44CD17BD8332}" vid="{4C35D296-8FDB-4EE3-B3B8-A139D42DBAC5}"/>
    </a:ext>
  </a:extLst>
</a:theme>
</file>

<file path=ppt/theme/theme6.xml><?xml version="1.0" encoding="utf-8"?>
<a:theme xmlns:a="http://schemas.openxmlformats.org/drawingml/2006/main" name="3_GDB_Standardfolien_DE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B_Standardfolien_DE_Q2_final.pptx" id="{2175FCFA-9B04-4F8C-9158-44CD17BD8332}" vid="{4C35D296-8FDB-4EE3-B3B8-A139D42DBAC5}"/>
    </a:ext>
  </a:extLst>
</a:theme>
</file>

<file path=ppt/theme/theme7.xml><?xml version="1.0" encoding="utf-8"?>
<a:theme xmlns:a="http://schemas.openxmlformats.org/drawingml/2006/main" name="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1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2_GDB_Standardfolien">
  <a:themeElements>
    <a:clrScheme name="DBG_2015">
      <a:dk1>
        <a:sysClr val="windowText" lastClr="000000"/>
      </a:dk1>
      <a:lt1>
        <a:srgbClr val="FFFFFF"/>
      </a:lt1>
      <a:dk2>
        <a:srgbClr val="000099"/>
      </a:dk2>
      <a:lt2>
        <a:srgbClr val="D7EBFF"/>
      </a:lt2>
      <a:accent1>
        <a:srgbClr val="4B9BFF"/>
      </a:accent1>
      <a:accent2>
        <a:srgbClr val="7DCDFF"/>
      </a:accent2>
      <a:accent3>
        <a:srgbClr val="B4E1FF"/>
      </a:accent3>
      <a:accent4>
        <a:srgbClr val="D7EBFF"/>
      </a:accent4>
      <a:accent5>
        <a:srgbClr val="D2D2D2"/>
      </a:accent5>
      <a:accent6>
        <a:srgbClr val="AFAFAF"/>
      </a:accent6>
      <a:hlink>
        <a:srgbClr val="919191"/>
      </a:hlink>
      <a:folHlink>
        <a:srgbClr val="6E6E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9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dXNlclNlbGVjdGVkIj48ZWxlbWVudCB1aWQ9ImlkX2NsYXNzaWZpY2F0aW9uX2ludGVybmFsb25seSIgdmFsdWU9IiIgeG1sbnM9Imh0dHA6Ly93d3cuYm9sZG9uamFtZXMuY29tLzIwMDgvMDEvc2llL2ludGVybmFsL2xhYmVsIiAvPjwvc2lzbD48VXNlck5hbWU+T0FBRFx1cDcwMzwvVXNlck5hbWU+PERhdGVUaW1lPjE3LjA3LjIwMTcgMDc6MTk6Mjk8L0RhdGVUaW1lPjxMYWJlbFN0cmluZz5JbnRlcm5hbDwvTGFiZWxTdHJpbmc+PC9pdGVtPjwvbGFiZWxIaXN0b3J5Pg==</Value>
</WrappedLabelHistory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3BB945D5584B4F89EBBE7714F771A3" ma:contentTypeVersion="1" ma:contentTypeDescription="Create a new document." ma:contentTypeScope="" ma:versionID="aa9f7c00e56bad7157560ad33f0879d3">
  <xsd:schema xmlns:xsd="http://www.w3.org/2001/XMLSchema" xmlns:xs="http://www.w3.org/2001/XMLSchema" xmlns:p="http://schemas.microsoft.com/office/2006/metadata/properties" xmlns:ns2="df4d7699-4ea4-4ced-9b2a-186e24d6677e" targetNamespace="http://schemas.microsoft.com/office/2006/metadata/properties" ma:root="true" ma:fieldsID="260ade15b387eab0117e44c0ebc80b3c" ns2:_="">
    <xsd:import namespace="df4d7699-4ea4-4ced-9b2a-186e24d6677e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4d7699-4ea4-4ced-9b2a-186e24d6677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sisl xmlns:xsi="http://www.w3.org/2001/XMLSchema-instance" xmlns:xsd="http://www.w3.org/2001/XMLSchema" xmlns="http://www.boldonjames.com/2008/01/sie/internal/label" sislVersion="0" policy="5e216652-7cb1-42d3-a22f-fb5c7f348db5" origin="userSelected">
  <element uid="id_classification_internalonly" value=""/>
</sisl>
</file>

<file path=customXml/itemProps1.xml><?xml version="1.0" encoding="utf-8"?>
<ds:datastoreItem xmlns:ds="http://schemas.openxmlformats.org/officeDocument/2006/customXml" ds:itemID="{20BB6ADD-D702-4F36-9FCC-F4FCBFF4A14A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3325CDF9-13FB-445E-86EE-8874EC1B727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f4d7699-4ea4-4ced-9b2a-186e24d6677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59671C0-A4A9-4328-B4A1-54E8F00B8B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f4d7699-4ea4-4ced-9b2a-186e24d6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B4D62B43-5E55-47BA-881B-29679D631C2D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56624AE0-062D-4CA6-98D8-4B9E15C81365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db_standard_slides</Template>
  <TotalTime>0</TotalTime>
  <Words>590</Words>
  <Application>Microsoft Office PowerPoint</Application>
  <PresentationFormat>On-screen Show (4:3)</PresentationFormat>
  <Paragraphs>139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0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42" baseType="lpstr">
      <vt:lpstr>Arial</vt:lpstr>
      <vt:lpstr>Wingdings</vt:lpstr>
      <vt:lpstr>gdb_standard_slides</vt:lpstr>
      <vt:lpstr>2_GDB_Standardfolien_DE</vt:lpstr>
      <vt:lpstr>GDB_Standardfolien_DE</vt:lpstr>
      <vt:lpstr>2_gdb_standard_slides</vt:lpstr>
      <vt:lpstr>1_GDB_Standardfolien_DE</vt:lpstr>
      <vt:lpstr>3_GDB_Standardfolien_DE</vt:lpstr>
      <vt:lpstr>GDB_Standardfolien</vt:lpstr>
      <vt:lpstr>1_GDB_Standardfolien</vt:lpstr>
      <vt:lpstr>2_GDB_Standardfolien</vt:lpstr>
      <vt:lpstr>3_GDB_Standardfolien</vt:lpstr>
      <vt:lpstr>4_GDB_Standardfolien</vt:lpstr>
      <vt:lpstr>5_GDB_Standardfolien</vt:lpstr>
      <vt:lpstr>6_GDB_Standardfolien</vt:lpstr>
      <vt:lpstr>4_GDB_Standardfolien_DE</vt:lpstr>
      <vt:lpstr>7_GDB_Standardfolien</vt:lpstr>
      <vt:lpstr>5_GDB_Standardfolien_DE</vt:lpstr>
      <vt:lpstr>6_GDB_Standardfolien_DE</vt:lpstr>
      <vt:lpstr>gdb_standard_slides</vt:lpstr>
      <vt:lpstr>1_gdb_standard_slides</vt:lpstr>
      <vt:lpstr>3_gdb_standard_slides</vt:lpstr>
      <vt:lpstr>think-cell Slide</vt:lpstr>
      <vt:lpstr>think-cell Folie</vt:lpstr>
      <vt:lpstr>Areas of Agile transformation</vt:lpstr>
      <vt:lpstr>Introduction</vt:lpstr>
      <vt:lpstr>Areas of enterprise influenced by Agile</vt:lpstr>
      <vt:lpstr>Leadership</vt:lpstr>
      <vt:lpstr>Leadership</vt:lpstr>
      <vt:lpstr>PowerPoint Presentation</vt:lpstr>
      <vt:lpstr>Organization</vt:lpstr>
      <vt:lpstr>Organization</vt:lpstr>
      <vt:lpstr>Product</vt:lpstr>
      <vt:lpstr>Product</vt:lpstr>
      <vt:lpstr>PowerPoint Presentation</vt:lpstr>
      <vt:lpstr>Delivery</vt:lpstr>
      <vt:lpstr>Delivery</vt:lpstr>
      <vt:lpstr>PowerPoint Presentation</vt:lpstr>
      <vt:lpstr>Execution</vt:lpstr>
      <vt:lpstr>Execution</vt:lpstr>
      <vt:lpstr>Questions and answers</vt:lpstr>
      <vt:lpstr>Appendix</vt:lpstr>
    </vt:vector>
  </TitlesOfParts>
  <Company>Deutsche Börse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utsche Börse Group</dc:title>
  <dc:creator>Pohl Christian</dc:creator>
  <cp:lastModifiedBy>Pavel Popelka</cp:lastModifiedBy>
  <cp:revision>611</cp:revision>
  <cp:lastPrinted>2017-11-17T11:41:56Z</cp:lastPrinted>
  <dcterms:created xsi:type="dcterms:W3CDTF">2016-10-19T13:15:31Z</dcterms:created>
  <dcterms:modified xsi:type="dcterms:W3CDTF">2018-01-18T08:1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6</vt:i4>
  </property>
  <property fmtid="{D5CDD505-2E9C-101B-9397-08002B2CF9AE}" pid="3" name="ContentTypeId">
    <vt:lpwstr>0x0101000C3BB945D5584B4F89EBBE7714F771A3</vt:lpwstr>
  </property>
  <property fmtid="{D5CDD505-2E9C-101B-9397-08002B2CF9AE}" pid="4" name="docIndexRef">
    <vt:lpwstr>4153e540-d9ca-441d-9ce9-58a2c8e730d3</vt:lpwstr>
  </property>
  <property fmtid="{D5CDD505-2E9C-101B-9397-08002B2CF9AE}" pid="5" name="bjSaver">
    <vt:lpwstr>fi0y0cNF7t3P5rHfuYXipuQ52c4N7zD4</vt:lpwstr>
  </property>
  <property fmtid="{D5CDD505-2E9C-101B-9397-08002B2CF9AE}" pid="6" name="bjDocumentLabelXML">
    <vt:lpwstr>&lt;?xml version="1.0" encoding="us-ascii"?&gt;&lt;sisl xmlns:xsi="http://www.w3.org/2001/XMLSchema-instance" xmlns:xsd="http://www.w3.org/2001/XMLSchema" sislVersion="0" policy="5e216652-7cb1-42d3-a22f-fb5c7f348db5" origin="userSelected" xmlns="http://www.boldonj</vt:lpwstr>
  </property>
  <property fmtid="{D5CDD505-2E9C-101B-9397-08002B2CF9AE}" pid="7" name="bjDocumentLabelXML-0">
    <vt:lpwstr>ames.com/2008/01/sie/internal/label"&gt;&lt;element uid="id_classification_internalonly" value="" /&gt;&lt;/sisl&gt;</vt:lpwstr>
  </property>
  <property fmtid="{D5CDD505-2E9C-101B-9397-08002B2CF9AE}" pid="8" name="bjDocumentSecurityLabel">
    <vt:lpwstr>Internal</vt:lpwstr>
  </property>
  <property fmtid="{D5CDD505-2E9C-101B-9397-08002B2CF9AE}" pid="9" name="DBG_Classification_ID">
    <vt:lpwstr>2</vt:lpwstr>
  </property>
  <property fmtid="{D5CDD505-2E9C-101B-9397-08002B2CF9AE}" pid="10" name="DBG_Classification_Name">
    <vt:lpwstr>Internal</vt:lpwstr>
  </property>
  <property fmtid="{D5CDD505-2E9C-101B-9397-08002B2CF9AE}" pid="11" name="bjLabelHistoryID">
    <vt:lpwstr>{20BB6ADD-D702-4F36-9FCC-F4FCBFF4A14A}</vt:lpwstr>
  </property>
</Properties>
</file>